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ags/tag49.xml" ContentType="application/vnd.openxmlformats-officedocument.presentationml.tags+xml"/>
  <Override PartName="/ppt/theme/theme4.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914" r:id="rId1"/>
    <p:sldMasterId id="2147483948" r:id="rId2"/>
  </p:sldMasterIdLst>
  <p:notesMasterIdLst>
    <p:notesMasterId r:id="rId14"/>
  </p:notesMasterIdLst>
  <p:handoutMasterIdLst>
    <p:handoutMasterId r:id="rId15"/>
  </p:handoutMasterIdLst>
  <p:sldIdLst>
    <p:sldId id="459" r:id="rId3"/>
    <p:sldId id="489" r:id="rId4"/>
    <p:sldId id="507" r:id="rId5"/>
    <p:sldId id="509" r:id="rId6"/>
    <p:sldId id="508" r:id="rId7"/>
    <p:sldId id="512" r:id="rId8"/>
    <p:sldId id="516" r:id="rId9"/>
    <p:sldId id="517" r:id="rId10"/>
    <p:sldId id="514" r:id="rId11"/>
    <p:sldId id="520" r:id="rId12"/>
    <p:sldId id="515" r:id="rId13"/>
  </p:sldIdLst>
  <p:sldSz cx="9144000" cy="5143500" type="screen16x9"/>
  <p:notesSz cx="6858000" cy="9144000"/>
  <p:custDataLst>
    <p:tags r:id="rId16"/>
  </p:custDataLst>
  <p:defaultTextStyle>
    <a:defPPr>
      <a:defRPr lang="en-US"/>
    </a:defPPr>
    <a:lvl1pPr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1pPr>
    <a:lvl2pPr marL="4572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2pPr>
    <a:lvl3pPr marL="9144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3pPr>
    <a:lvl4pPr marL="13716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4pPr>
    <a:lvl5pPr marL="1828800" algn="ctr" defTabSz="457200" rtl="0" fontAlgn="base">
      <a:spcBef>
        <a:spcPct val="0"/>
      </a:spcBef>
      <a:spcAft>
        <a:spcPct val="0"/>
      </a:spcAft>
      <a:defRPr sz="1400" b="1" kern="1200">
        <a:solidFill>
          <a:schemeClr val="bg1"/>
        </a:solidFill>
        <a:latin typeface="Arial" pitchFamily="34" charset="0"/>
        <a:ea typeface="MS PGothic" pitchFamily="34" charset="-128"/>
        <a:cs typeface="+mn-cs"/>
      </a:defRPr>
    </a:lvl5pPr>
    <a:lvl6pPr marL="2286000" algn="l" defTabSz="914400" rtl="0" eaLnBrk="1" latinLnBrk="0" hangingPunct="1">
      <a:defRPr sz="1400" b="1" kern="1200">
        <a:solidFill>
          <a:schemeClr val="bg1"/>
        </a:solidFill>
        <a:latin typeface="Arial" pitchFamily="34" charset="0"/>
        <a:ea typeface="MS PGothic" pitchFamily="34" charset="-128"/>
        <a:cs typeface="+mn-cs"/>
      </a:defRPr>
    </a:lvl6pPr>
    <a:lvl7pPr marL="2743200" algn="l" defTabSz="914400" rtl="0" eaLnBrk="1" latinLnBrk="0" hangingPunct="1">
      <a:defRPr sz="1400" b="1" kern="1200">
        <a:solidFill>
          <a:schemeClr val="bg1"/>
        </a:solidFill>
        <a:latin typeface="Arial" pitchFamily="34" charset="0"/>
        <a:ea typeface="MS PGothic" pitchFamily="34" charset="-128"/>
        <a:cs typeface="+mn-cs"/>
      </a:defRPr>
    </a:lvl7pPr>
    <a:lvl8pPr marL="3200400" algn="l" defTabSz="914400" rtl="0" eaLnBrk="1" latinLnBrk="0" hangingPunct="1">
      <a:defRPr sz="1400" b="1" kern="1200">
        <a:solidFill>
          <a:schemeClr val="bg1"/>
        </a:solidFill>
        <a:latin typeface="Arial" pitchFamily="34" charset="0"/>
        <a:ea typeface="MS PGothic" pitchFamily="34" charset="-128"/>
        <a:cs typeface="+mn-cs"/>
      </a:defRPr>
    </a:lvl8pPr>
    <a:lvl9pPr marL="3657600" algn="l" defTabSz="914400" rtl="0" eaLnBrk="1" latinLnBrk="0" hangingPunct="1">
      <a:defRPr sz="1400" b="1" kern="1200">
        <a:solidFill>
          <a:schemeClr val="bg1"/>
        </a:solidFill>
        <a:latin typeface="Arial" pitchFamily="34" charset="0"/>
        <a:ea typeface="MS PGothic"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535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5004"/>
    <a:srgbClr val="969696"/>
    <a:srgbClr val="90104F"/>
    <a:srgbClr val="7E0A3C"/>
    <a:srgbClr val="911050"/>
    <a:srgbClr val="9110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86" autoAdjust="0"/>
    <p:restoredTop sz="90860" autoAdjust="0"/>
  </p:normalViewPr>
  <p:slideViewPr>
    <p:cSldViewPr snapToGrid="0" snapToObjects="1">
      <p:cViewPr varScale="1">
        <p:scale>
          <a:sx n="136" d="100"/>
          <a:sy n="136" d="100"/>
        </p:scale>
        <p:origin x="1168" y="176"/>
      </p:cViewPr>
      <p:guideLst>
        <p:guide orient="horz" pos="1620"/>
        <p:guide pos="535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91" d="100"/>
          <a:sy n="91" d="100"/>
        </p:scale>
        <p:origin x="3750"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notesMaster" Target="notesMasters/notesMaster1.xml"/><Relationship Id="rId15" Type="http://schemas.openxmlformats.org/officeDocument/2006/relationships/handoutMaster" Target="handoutMasters/handoutMaster1.xml"/><Relationship Id="rId16" Type="http://schemas.openxmlformats.org/officeDocument/2006/relationships/tags" Target="tags/tag1.xml"/><Relationship Id="rId17" Type="http://schemas.openxmlformats.org/officeDocument/2006/relationships/presProps" Target="presProps.xml"/><Relationship Id="rId18" Type="http://schemas.openxmlformats.org/officeDocument/2006/relationships/viewProps" Target="viewProps.xml"/><Relationship Id="rId19" Type="http://schemas.openxmlformats.org/officeDocument/2006/relationships/theme" Target="theme/theme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b="0">
                <a:solidFill>
                  <a:schemeClr val="tx1"/>
                </a:solidFill>
                <a:latin typeface="Arial" pitchFamily="34" charset="0"/>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b="0">
                <a:solidFill>
                  <a:schemeClr val="tx1"/>
                </a:solidFill>
                <a:latin typeface="Arial" pitchFamily="34" charset="0"/>
                <a:ea typeface="PMingLiU" pitchFamily="18" charset="-120"/>
              </a:defRPr>
            </a:lvl1pPr>
          </a:lstStyle>
          <a:p>
            <a:pPr>
              <a:defRPr/>
            </a:pPr>
            <a:fld id="{E15CB0F1-FF6D-46FE-AA93-9D72D1D67094}" type="datetime1">
              <a:rPr lang="zh-TW" altLang="en-US"/>
              <a:pPr>
                <a:defRPr/>
              </a:pPr>
              <a:t>2018/3/2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b="0">
                <a:solidFill>
                  <a:schemeClr val="tx1"/>
                </a:solidFill>
                <a:latin typeface="Arial" pitchFamily="34" charset="0"/>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b="0">
                <a:solidFill>
                  <a:schemeClr val="tx1"/>
                </a:solidFill>
                <a:latin typeface="Arial" pitchFamily="34" charset="0"/>
              </a:defRPr>
            </a:lvl1pPr>
          </a:lstStyle>
          <a:p>
            <a:pPr>
              <a:defRPr/>
            </a:pPr>
            <a:fld id="{4062D336-1CD8-4CF1-9A4D-93327B041399}" type="slidenum">
              <a:rPr lang="en-US"/>
              <a:pPr>
                <a:defRPr/>
              </a:pPr>
              <a:t>‹#›</a:t>
            </a:fld>
            <a:endParaRPr lang="en-US"/>
          </a:p>
        </p:txBody>
      </p:sp>
    </p:spTree>
    <p:extLst>
      <p:ext uri="{BB962C8B-B14F-4D97-AF65-F5344CB8AC3E}">
        <p14:creationId xmlns:p14="http://schemas.microsoft.com/office/powerpoint/2010/main" val="6173826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tags" Target="../tags/tag4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314" name="Slide Image Placeholder 3"/>
          <p:cNvSpPr>
            <a:spLocks noGrp="1" noRot="1" noChangeAspect="1"/>
          </p:cNvSpPr>
          <p:nvPr>
            <p:ph type="sldImg" idx="2"/>
          </p:nvPr>
        </p:nvSpPr>
        <p:spPr bwMode="gray">
          <a:xfrm>
            <a:off x="381000" y="685800"/>
            <a:ext cx="6096000" cy="3429000"/>
          </a:xfrm>
          <a:prstGeom prst="rect">
            <a:avLst/>
          </a:prstGeom>
          <a:noFill/>
          <a:ln w="12700">
            <a:solidFill>
              <a:srgbClr val="000000"/>
            </a:solidFill>
            <a:miter lim="800000"/>
            <a:headEnd/>
            <a:tailEnd/>
          </a:ln>
        </p:spPr>
      </p:sp>
      <p:sp>
        <p:nvSpPr>
          <p:cNvPr id="5" name="Notes Placeholder 4"/>
          <p:cNvSpPr>
            <a:spLocks noGrp="1"/>
          </p:cNvSpPr>
          <p:nvPr>
            <p:ph type="body" sz="quarter" idx="3"/>
          </p:nvPr>
        </p:nvSpPr>
        <p:spPr bwMode="gray">
          <a:xfrm>
            <a:off x="381000" y="4252913"/>
            <a:ext cx="6096000" cy="12223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7" name="pg num"/>
          <p:cNvSpPr>
            <a:spLocks noGrp="1"/>
          </p:cNvSpPr>
          <p:nvPr>
            <p:ph type="sldNum" sz="quarter" idx="5"/>
          </p:nvPr>
        </p:nvSpPr>
        <p:spPr bwMode="gray">
          <a:xfrm>
            <a:off x="6111875" y="8685213"/>
            <a:ext cx="365125"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lvl1pPr algn="r">
              <a:defRPr sz="1200" b="0">
                <a:solidFill>
                  <a:schemeClr val="tx1"/>
                </a:solidFill>
                <a:latin typeface="Arial" pitchFamily="34" charset="0"/>
                <a:cs typeface="Arial" pitchFamily="34" charset="0"/>
              </a:defRPr>
            </a:lvl1pPr>
          </a:lstStyle>
          <a:p>
            <a:pPr>
              <a:defRPr/>
            </a:pPr>
            <a:fld id="{95DA0B61-E47A-4E90-8CE3-F2D4B0847626}" type="slidenum">
              <a:rPr lang="en-US"/>
              <a:pPr>
                <a:defRPr/>
              </a:pPr>
              <a:t>‹#›</a:t>
            </a:fld>
            <a:endParaRPr lang="en-US"/>
          </a:p>
        </p:txBody>
      </p:sp>
      <p:sp>
        <p:nvSpPr>
          <p:cNvPr id="9224" name="doc id"/>
          <p:cNvSpPr>
            <a:spLocks noChangeArrowheads="1"/>
          </p:cNvSpPr>
          <p:nvPr>
            <p:custDataLst>
              <p:tags r:id="rId2"/>
            </p:custDataLst>
          </p:nvPr>
        </p:nvSpPr>
        <p:spPr bwMode="gray">
          <a:xfrm>
            <a:off x="5819775" y="79375"/>
            <a:ext cx="657225" cy="122238"/>
          </a:xfrm>
          <a:prstGeom prst="rect">
            <a:avLst/>
          </a:prstGeom>
          <a:noFill/>
          <a:ln w="9525">
            <a:noFill/>
            <a:miter lim="800000"/>
            <a:headEnd/>
            <a:tailEnd/>
          </a:ln>
          <a:effectLst/>
        </p:spPr>
        <p:txBody>
          <a:bodyPr wrap="none" lIns="0" tIns="0" rIns="0" bIns="0"/>
          <a:lstStyle/>
          <a:p>
            <a:pPr algn="r" defTabSz="895350">
              <a:defRPr/>
            </a:pPr>
            <a:r>
              <a:rPr lang="cs-CZ" sz="800" b="0">
                <a:solidFill>
                  <a:srgbClr val="000000"/>
                </a:solidFill>
              </a:rPr>
              <a:t>DOC ID</a:t>
            </a:r>
          </a:p>
        </p:txBody>
      </p:sp>
    </p:spTree>
    <p:extLst>
      <p:ext uri="{BB962C8B-B14F-4D97-AF65-F5344CB8AC3E}">
        <p14:creationId xmlns:p14="http://schemas.microsoft.com/office/powerpoint/2010/main" val="2092739700"/>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pitchFamily="34" charset="0"/>
        <a:ea typeface="MS PGothic" pitchFamily="34" charset="-128"/>
        <a:cs typeface="Arial" pitchFamily="34" charset="0"/>
      </a:defRPr>
    </a:lvl1pPr>
    <a:lvl2pPr marL="193675" indent="-192088" algn="l" defTabSz="895350" rtl="0" eaLnBrk="0" fontAlgn="base" hangingPunct="0">
      <a:spcBef>
        <a:spcPct val="0"/>
      </a:spcBef>
      <a:spcAft>
        <a:spcPct val="0"/>
      </a:spcAft>
      <a:buClr>
        <a:schemeClr val="tx2"/>
      </a:buClr>
      <a:buSzPct val="125000"/>
      <a:buFont typeface="Arial" pitchFamily="34" charset="0"/>
      <a:buChar char="▪"/>
      <a:defRPr sz="1600" kern="1200">
        <a:solidFill>
          <a:schemeClr val="tx1"/>
        </a:solidFill>
        <a:latin typeface="Arial" pitchFamily="34" charset="0"/>
        <a:ea typeface="MS PGothic" pitchFamily="34" charset="-128"/>
        <a:cs typeface="Arial" pitchFamily="34" charset="0"/>
      </a:defRPr>
    </a:lvl2pPr>
    <a:lvl3pPr marL="457200" indent="-261938" algn="l" defTabSz="895350" rtl="0" eaLnBrk="0" fontAlgn="base" hangingPunct="0">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S PGothic" pitchFamily="34" charset="-128"/>
        <a:cs typeface="Arial" pitchFamily="34" charset="0"/>
      </a:defRPr>
    </a:lvl3pPr>
    <a:lvl4pPr marL="614363" indent="-155575" algn="l" defTabSz="895350" rtl="0" eaLnBrk="0" fontAlgn="base" hangingPunct="0">
      <a:spcBef>
        <a:spcPct val="0"/>
      </a:spcBef>
      <a:spcAft>
        <a:spcPct val="0"/>
      </a:spcAft>
      <a:buClr>
        <a:schemeClr val="tx2"/>
      </a:buClr>
      <a:buSzPct val="120000"/>
      <a:buFont typeface="Arial" pitchFamily="34" charset="0"/>
      <a:buChar char="▫"/>
      <a:defRPr sz="1600" kern="1200">
        <a:solidFill>
          <a:schemeClr val="tx1"/>
        </a:solidFill>
        <a:latin typeface="Arial" pitchFamily="34" charset="0"/>
        <a:ea typeface="MS PGothic" pitchFamily="34" charset="-128"/>
        <a:cs typeface="Arial" pitchFamily="34" charset="0"/>
      </a:defRPr>
    </a:lvl4pPr>
    <a:lvl5pPr marL="746125" indent="-130175" algn="l" defTabSz="895350" rtl="0" eaLnBrk="0" fontAlgn="base" hangingPunct="0">
      <a:spcBef>
        <a:spcPct val="0"/>
      </a:spcBef>
      <a:spcAft>
        <a:spcPct val="0"/>
      </a:spcAft>
      <a:buClr>
        <a:schemeClr val="tx2"/>
      </a:buClr>
      <a:buSzPct val="89000"/>
      <a:buFont typeface="Arial" pitchFamily="34" charset="0"/>
      <a:buChar char="-"/>
      <a:defRPr sz="1600" kern="1200">
        <a:solidFill>
          <a:schemeClr val="tx1"/>
        </a:solidFill>
        <a:latin typeface="Arial" pitchFamily="34" charset="0"/>
        <a:ea typeface="MS PGothic" pitchFamily="34" charset="-128"/>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8"/>
          <p:cNvSpPr>
            <a:spLocks noGrp="1" noRot="1" noChangeAspect="1" noTextEdit="1"/>
          </p:cNvSpPr>
          <p:nvPr>
            <p:ph type="sldImg"/>
          </p:nvPr>
        </p:nvSpPr>
        <p:spPr>
          <a:ln/>
        </p:spPr>
      </p:sp>
      <p:sp>
        <p:nvSpPr>
          <p:cNvPr id="23555" name="Rectangle 9"/>
          <p:cNvSpPr>
            <a:spLocks noGrp="1"/>
          </p:cNvSpPr>
          <p:nvPr>
            <p:ph type="body" idx="1"/>
          </p:nvPr>
        </p:nvSpPr>
        <p:spPr>
          <a:xfrm>
            <a:off x="381000" y="4252913"/>
            <a:ext cx="6096000" cy="212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pPr eaLnBrk="1" hangingPunct="1"/>
            <a:endParaRPr lang="zh-CN" altLang="en-US" smtClean="0">
              <a:cs typeface="Arial" charset="0"/>
            </a:endParaRPr>
          </a:p>
        </p:txBody>
      </p:sp>
    </p:spTree>
    <p:extLst>
      <p:ext uri="{BB962C8B-B14F-4D97-AF65-F5344CB8AC3E}">
        <p14:creationId xmlns:p14="http://schemas.microsoft.com/office/powerpoint/2010/main" val="19859201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2</a:t>
            </a:fld>
            <a:endParaRPr lang="en-US"/>
          </a:p>
        </p:txBody>
      </p:sp>
    </p:spTree>
    <p:extLst>
      <p:ext uri="{BB962C8B-B14F-4D97-AF65-F5344CB8AC3E}">
        <p14:creationId xmlns:p14="http://schemas.microsoft.com/office/powerpoint/2010/main" val="1139941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5</a:t>
            </a:fld>
            <a:endParaRPr lang="en-US"/>
          </a:p>
        </p:txBody>
      </p:sp>
    </p:spTree>
    <p:extLst>
      <p:ext uri="{BB962C8B-B14F-4D97-AF65-F5344CB8AC3E}">
        <p14:creationId xmlns:p14="http://schemas.microsoft.com/office/powerpoint/2010/main" val="2618959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6</a:t>
            </a:fld>
            <a:endParaRPr lang="en-US"/>
          </a:p>
        </p:txBody>
      </p:sp>
    </p:spTree>
    <p:extLst>
      <p:ext uri="{BB962C8B-B14F-4D97-AF65-F5344CB8AC3E}">
        <p14:creationId xmlns:p14="http://schemas.microsoft.com/office/powerpoint/2010/main" val="606080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Tx/>
              <a:buNone/>
              <a:tabLst/>
              <a:defRPr/>
            </a:pPr>
            <a:r>
              <a:rPr kumimoji="1" lang="zh-CN" altLang="en-US" dirty="0" smtClean="0"/>
              <a:t>高可用、可横向扩展、分布式架构</a:t>
            </a:r>
          </a:p>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7</a:t>
            </a:fld>
            <a:endParaRPr lang="en-US"/>
          </a:p>
        </p:txBody>
      </p:sp>
    </p:spTree>
    <p:extLst>
      <p:ext uri="{BB962C8B-B14F-4D97-AF65-F5344CB8AC3E}">
        <p14:creationId xmlns:p14="http://schemas.microsoft.com/office/powerpoint/2010/main" val="1549205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95DA0B61-E47A-4E90-8CE3-F2D4B0847626}" type="slidenum">
              <a:rPr lang="en-US" smtClean="0"/>
              <a:pPr>
                <a:defRPr/>
              </a:pPr>
              <a:t>9</a:t>
            </a:fld>
            <a:endParaRPr lang="en-US"/>
          </a:p>
        </p:txBody>
      </p:sp>
    </p:spTree>
    <p:extLst>
      <p:ext uri="{BB962C8B-B14F-4D97-AF65-F5344CB8AC3E}">
        <p14:creationId xmlns:p14="http://schemas.microsoft.com/office/powerpoint/2010/main" val="29276960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slideMaster" Target="../slideMasters/slideMaster1.xml"/><Relationship Id="rId7" Type="http://schemas.openxmlformats.org/officeDocument/2006/relationships/oleObject" Target="../embeddings/oleObject1.bin"/><Relationship Id="rId8" Type="http://schemas.openxmlformats.org/officeDocument/2006/relationships/image" Target="../media/image1.emf"/><Relationship Id="rId9" Type="http://schemas.openxmlformats.org/officeDocument/2006/relationships/image" Target="../media/image2.png"/><Relationship Id="rId1" Type="http://schemas.openxmlformats.org/officeDocument/2006/relationships/vmlDrawing" Target="../drawings/vmlDrawing1.vml"/><Relationship Id="rId2"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9" Type="http://schemas.openxmlformats.org/officeDocument/2006/relationships/tags" Target="../tags/tag16.xml"/><Relationship Id="rId20" Type="http://schemas.openxmlformats.org/officeDocument/2006/relationships/tags" Target="../tags/tag27.xml"/><Relationship Id="rId21" Type="http://schemas.openxmlformats.org/officeDocument/2006/relationships/tags" Target="../tags/tag28.xml"/><Relationship Id="rId22" Type="http://schemas.openxmlformats.org/officeDocument/2006/relationships/tags" Target="../tags/tag29.xml"/><Relationship Id="rId23" Type="http://schemas.openxmlformats.org/officeDocument/2006/relationships/tags" Target="../tags/tag30.xml"/><Relationship Id="rId24" Type="http://schemas.openxmlformats.org/officeDocument/2006/relationships/tags" Target="../tags/tag31.xml"/><Relationship Id="rId25" Type="http://schemas.openxmlformats.org/officeDocument/2006/relationships/slideMaster" Target="../slideMasters/slideMaster1.xml"/><Relationship Id="rId26" Type="http://schemas.openxmlformats.org/officeDocument/2006/relationships/oleObject" Target="../embeddings/oleObject2.bin"/><Relationship Id="rId27" Type="http://schemas.openxmlformats.org/officeDocument/2006/relationships/image" Target="../media/image1.emf"/><Relationship Id="rId28" Type="http://schemas.openxmlformats.org/officeDocument/2006/relationships/image" Target="../media/image2.png"/><Relationship Id="rId10" Type="http://schemas.openxmlformats.org/officeDocument/2006/relationships/tags" Target="../tags/tag17.xml"/><Relationship Id="rId11" Type="http://schemas.openxmlformats.org/officeDocument/2006/relationships/tags" Target="../tags/tag18.xml"/><Relationship Id="rId12" Type="http://schemas.openxmlformats.org/officeDocument/2006/relationships/tags" Target="../tags/tag19.xml"/><Relationship Id="rId13" Type="http://schemas.openxmlformats.org/officeDocument/2006/relationships/tags" Target="../tags/tag20.xml"/><Relationship Id="rId14" Type="http://schemas.openxmlformats.org/officeDocument/2006/relationships/tags" Target="../tags/tag21.xml"/><Relationship Id="rId15" Type="http://schemas.openxmlformats.org/officeDocument/2006/relationships/tags" Target="../tags/tag22.xml"/><Relationship Id="rId16" Type="http://schemas.openxmlformats.org/officeDocument/2006/relationships/tags" Target="../tags/tag23.xml"/><Relationship Id="rId17" Type="http://schemas.openxmlformats.org/officeDocument/2006/relationships/tags" Target="../tags/tag24.xml"/><Relationship Id="rId18" Type="http://schemas.openxmlformats.org/officeDocument/2006/relationships/tags" Target="../tags/tag25.xml"/><Relationship Id="rId19" Type="http://schemas.openxmlformats.org/officeDocument/2006/relationships/tags" Target="../tags/tag26.xml"/><Relationship Id="rId1" Type="http://schemas.openxmlformats.org/officeDocument/2006/relationships/vmlDrawing" Target="../drawings/vmlDrawing2.vml"/><Relationship Id="rId2" Type="http://schemas.openxmlformats.org/officeDocument/2006/relationships/tags" Target="../tags/tag9.xml"/><Relationship Id="rId3" Type="http://schemas.openxmlformats.org/officeDocument/2006/relationships/tags" Target="../tags/tag10.xml"/><Relationship Id="rId4" Type="http://schemas.openxmlformats.org/officeDocument/2006/relationships/tags" Target="../tags/tag11.xml"/><Relationship Id="rId5" Type="http://schemas.openxmlformats.org/officeDocument/2006/relationships/tags" Target="../tags/tag12.xml"/><Relationship Id="rId6" Type="http://schemas.openxmlformats.org/officeDocument/2006/relationships/tags" Target="../tags/tag13.xml"/><Relationship Id="rId7" Type="http://schemas.openxmlformats.org/officeDocument/2006/relationships/tags" Target="../tags/tag14.xml"/><Relationship Id="rId8" Type="http://schemas.openxmlformats.org/officeDocument/2006/relationships/tags" Target="../tags/tag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2.xml"/><Relationship Id="rId3"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908" name="think-cell Slide" r:id="rId7" imgW="360" imgH="360" progId="TCLayout.ActiveDocument.1">
                  <p:embed/>
                </p:oleObj>
              </mc:Choice>
              <mc:Fallback>
                <p:oleObj name="think-cell Slide" r:id="rId7" imgW="360" imgH="360" progId="TCLayout.ActiveDocument.1">
                  <p:embed/>
                  <p:pic>
                    <p:nvPicPr>
                      <p:cNvPr id="0" name="Object 1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a:spLocks noChangeArrowheads="1"/>
          </p:cNvSpPr>
          <p:nvPr>
            <p:custDataLst>
              <p:tags r:id="rId3"/>
            </p:custDataLst>
          </p:nvPr>
        </p:nvSpPr>
        <p:spPr bwMode="gray">
          <a:xfrm>
            <a:off x="8024813" y="36513"/>
            <a:ext cx="657225" cy="122237"/>
          </a:xfrm>
          <a:prstGeom prst="rect">
            <a:avLst/>
          </a:prstGeom>
          <a:noFill/>
          <a:ln w="9525">
            <a:noFill/>
            <a:miter lim="800000"/>
            <a:headEnd/>
            <a:tailEnd/>
          </a:ln>
          <a:effectLst/>
        </p:spPr>
        <p:txBody>
          <a:bodyPr wrap="none" lIns="0" tIns="0" rIns="0" bIns="0"/>
          <a:lstStyle/>
          <a:p>
            <a:pPr algn="r" defTabSz="895350">
              <a:defRPr/>
            </a:pPr>
            <a:endParaRPr lang="cs-CZ" sz="800" b="0">
              <a:solidFill>
                <a:srgbClr val="000000"/>
              </a:solidFill>
            </a:endParaRPr>
          </a:p>
        </p:txBody>
      </p:sp>
      <p:grpSp>
        <p:nvGrpSpPr>
          <p:cNvPr id="6" name="McK Title Elements"/>
          <p:cNvGrpSpPr>
            <a:grpSpLocks/>
          </p:cNvGrpSpPr>
          <p:nvPr>
            <p:custDataLst>
              <p:tags r:id="rId4"/>
            </p:custDataLst>
          </p:nvPr>
        </p:nvGrpSpPr>
        <p:grpSpPr bwMode="auto">
          <a:xfrm>
            <a:off x="469900" y="3343275"/>
            <a:ext cx="6300788" cy="514350"/>
            <a:chOff x="296" y="2106"/>
            <a:chExt cx="3969" cy="324"/>
          </a:xfrm>
        </p:grpSpPr>
        <p:sp>
          <p:nvSpPr>
            <p:cNvPr id="7" name="McK Document type" hidden="1"/>
            <p:cNvSpPr txBox="1">
              <a:spLocks noChangeArrowheads="1"/>
            </p:cNvSpPr>
            <p:nvPr/>
          </p:nvSpPr>
          <p:spPr bwMode="gray">
            <a:xfrm>
              <a:off x="296" y="2106"/>
              <a:ext cx="3969" cy="154"/>
            </a:xfrm>
            <a:prstGeom prst="rect">
              <a:avLst/>
            </a:prstGeom>
            <a:noFill/>
            <a:ln w="9525">
              <a:noFill/>
              <a:miter lim="800000"/>
              <a:headEnd/>
              <a:tailEnd/>
            </a:ln>
            <a:effectLst/>
          </p:spPr>
          <p:txBody>
            <a:bodyPr lIns="0" tIns="0" rIns="0" bIns="0" anchor="b">
              <a:spAutoFit/>
            </a:bodyPr>
            <a:lstStyle/>
            <a:p>
              <a:pPr algn="l">
                <a:defRPr/>
              </a:pPr>
              <a:r>
                <a:rPr lang="en-US" altLang="zh-CN" sz="1600" b="0">
                  <a:solidFill>
                    <a:schemeClr val="tx1"/>
                  </a:solidFill>
                </a:rPr>
                <a:t>Document type</a:t>
              </a:r>
            </a:p>
          </p:txBody>
        </p:sp>
        <p:sp>
          <p:nvSpPr>
            <p:cNvPr id="8" name="McK Date" hidden="1"/>
            <p:cNvSpPr txBox="1">
              <a:spLocks noChangeArrowheads="1"/>
            </p:cNvSpPr>
            <p:nvPr/>
          </p:nvSpPr>
          <p:spPr bwMode="gray">
            <a:xfrm>
              <a:off x="296" y="2276"/>
              <a:ext cx="3969" cy="154"/>
            </a:xfrm>
            <a:prstGeom prst="rect">
              <a:avLst/>
            </a:prstGeom>
            <a:noFill/>
            <a:ln w="9525">
              <a:noFill/>
              <a:miter lim="800000"/>
              <a:headEnd/>
              <a:tailEnd/>
            </a:ln>
            <a:effectLst/>
          </p:spPr>
          <p:txBody>
            <a:bodyPr lIns="0" tIns="0" rIns="0" bIns="0">
              <a:spAutoFit/>
            </a:bodyPr>
            <a:lstStyle/>
            <a:p>
              <a:pPr algn="l">
                <a:defRPr/>
              </a:pPr>
              <a:r>
                <a:rPr lang="en-US" altLang="zh-CN" sz="1600" b="0">
                  <a:solidFill>
                    <a:schemeClr val="tx1"/>
                  </a:solidFill>
                </a:rPr>
                <a:t>Date</a:t>
              </a:r>
            </a:p>
          </p:txBody>
        </p:sp>
      </p:grpSp>
      <p:cxnSp>
        <p:nvCxnSpPr>
          <p:cNvPr id="9" name="Straight Connector 8"/>
          <p:cNvCxnSpPr/>
          <p:nvPr userDrawn="1"/>
        </p:nvCxnSpPr>
        <p:spPr>
          <a:xfrm>
            <a:off x="363538" y="1003300"/>
            <a:ext cx="7091362" cy="0"/>
          </a:xfrm>
          <a:prstGeom prst="line">
            <a:avLst/>
          </a:prstGeom>
          <a:ln w="635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4579" name="Title Placeholder 1"/>
          <p:cNvSpPr>
            <a:spLocks noGrp="1"/>
          </p:cNvSpPr>
          <p:nvPr>
            <p:ph type="ctrTitle"/>
          </p:nvPr>
        </p:nvSpPr>
        <p:spPr>
          <a:xfrm>
            <a:off x="469900" y="1250950"/>
            <a:ext cx="8191500" cy="396875"/>
          </a:xfrm>
        </p:spPr>
        <p:txBody>
          <a:bodyPr/>
          <a:lstStyle>
            <a:lvl1pPr>
              <a:lnSpc>
                <a:spcPct val="100000"/>
              </a:lnSpc>
              <a:defRPr sz="2600" smtClean="0">
                <a:solidFill>
                  <a:schemeClr val="tx1"/>
                </a:solidFill>
                <a:latin typeface="Verdana" pitchFamily="34" charset="0"/>
                <a:ea typeface="Verdana" pitchFamily="34" charset="0"/>
                <a:cs typeface="Verdana" pitchFamily="34" charset="0"/>
              </a:defRPr>
            </a:lvl1pPr>
          </a:lstStyle>
          <a:p>
            <a:r>
              <a:rPr lang="en-US" smtClean="0"/>
              <a:t>Click to edit Master title style</a:t>
            </a:r>
            <a:endParaRPr lang="en-US" dirty="0" smtClean="0"/>
          </a:p>
        </p:txBody>
      </p:sp>
      <p:sp>
        <p:nvSpPr>
          <p:cNvPr id="24580" name="Text Placeholder 2"/>
          <p:cNvSpPr>
            <a:spLocks noGrp="1"/>
          </p:cNvSpPr>
          <p:nvPr>
            <p:ph type="subTitle" idx="1"/>
          </p:nvPr>
        </p:nvSpPr>
        <p:spPr>
          <a:xfrm>
            <a:off x="469900" y="2357438"/>
            <a:ext cx="6392863" cy="274637"/>
          </a:xfrm>
          <a:ln/>
        </p:spPr>
        <p:txBody>
          <a:bodyPr anchor="ctr">
            <a:spAutoFit/>
          </a:bodyPr>
          <a:lstStyle>
            <a:lvl1pPr>
              <a:defRPr sz="1800" smtClean="0">
                <a:latin typeface="Arial" pitchFamily="34" charset="0"/>
              </a:defRPr>
            </a:lvl1pPr>
          </a:lstStyle>
          <a:p>
            <a:r>
              <a:rPr lang="en-US" smtClean="0"/>
              <a:t>Click to edit Master subtitle style</a:t>
            </a:r>
          </a:p>
        </p:txBody>
      </p:sp>
      <p:sp>
        <p:nvSpPr>
          <p:cNvPr id="11" name="pg num"/>
          <p:cNvSpPr>
            <a:spLocks noGrp="1"/>
          </p:cNvSpPr>
          <p:nvPr>
            <p:ph type="sldNum" sz="quarter" idx="10"/>
            <p:custDataLst>
              <p:tags r:id="rId5"/>
            </p:custDataLst>
          </p:nvPr>
        </p:nvSpPr>
        <p:spPr/>
        <p:txBody>
          <a:bodyPr/>
          <a:lstStyle>
            <a:lvl1pPr>
              <a:defRPr>
                <a:solidFill>
                  <a:schemeClr val="bg1"/>
                </a:solidFill>
              </a:defRPr>
            </a:lvl1pPr>
          </a:lstStyle>
          <a:p>
            <a:pPr>
              <a:defRPr/>
            </a:pPr>
            <a:fld id="{1281B722-B198-43A2-B3FE-A88F4C17EDEF}" type="slidenum">
              <a:rPr lang="en-US"/>
              <a:pPr>
                <a:defRPr/>
              </a:pPr>
              <a:t>‹#›</a:t>
            </a:fld>
            <a:endParaRPr lang="en-US"/>
          </a:p>
        </p:txBody>
      </p:sp>
      <p:pic>
        <p:nvPicPr>
          <p:cNvPr id="12" name="图片 11"/>
          <p:cNvPicPr/>
          <p:nvPr userDrawn="1"/>
        </p:nvPicPr>
        <p:blipFill>
          <a:blip r:embed="rId9"/>
          <a:stretch>
            <a:fillRect/>
          </a:stretch>
        </p:blipFill>
        <p:spPr>
          <a:xfrm>
            <a:off x="7454900" y="620785"/>
            <a:ext cx="1227138" cy="548684"/>
          </a:xfrm>
          <a:prstGeom prst="rect">
            <a:avLst/>
          </a:prstGeom>
          <a:noFill/>
          <a:ln w="9525">
            <a:noFill/>
          </a:ln>
        </p:spPr>
      </p:pic>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8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32" name="think-cell Slide" r:id="rId26" imgW="360" imgH="360" progId="TCLayout.ActiveDocument.1">
                  <p:embed/>
                </p:oleObj>
              </mc:Choice>
              <mc:Fallback>
                <p:oleObj name="think-cell Slide" r:id="rId26" imgW="360" imgH="360" progId="TCLayout.ActiveDocument.1">
                  <p:embed/>
                  <p:pic>
                    <p:nvPicPr>
                      <p:cNvPr id="0" name="Object 85"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McK Slide Elements"/>
          <p:cNvGrpSpPr>
            <a:grpSpLocks/>
          </p:cNvGrpSpPr>
          <p:nvPr userDrawn="1"/>
        </p:nvGrpSpPr>
        <p:grpSpPr bwMode="auto">
          <a:xfrm>
            <a:off x="469900" y="4729163"/>
            <a:ext cx="7667625" cy="352425"/>
            <a:chOff x="296" y="2979"/>
            <a:chExt cx="4830" cy="222"/>
          </a:xfrm>
        </p:grpSpPr>
        <p:sp>
          <p:nvSpPr>
            <p:cNvPr id="6" name="McK 4. Footnote" hidden="1"/>
            <p:cNvSpPr txBox="1">
              <a:spLocks noChangeArrowheads="1"/>
            </p:cNvSpPr>
            <p:nvPr userDrawn="1"/>
          </p:nvSpPr>
          <p:spPr bwMode="gray">
            <a:xfrm>
              <a:off x="296" y="2979"/>
              <a:ext cx="4830" cy="96"/>
            </a:xfrm>
            <a:prstGeom prst="rect">
              <a:avLst/>
            </a:prstGeom>
            <a:noFill/>
            <a:ln w="9525">
              <a:noFill/>
              <a:miter lim="800000"/>
              <a:headEnd/>
              <a:tailEnd/>
            </a:ln>
            <a:effectLst/>
          </p:spPr>
          <p:txBody>
            <a:bodyPr lIns="0" tIns="0" rIns="0" bIns="0" anchor="b">
              <a:spAutoFit/>
            </a:bodyPr>
            <a:lstStyle/>
            <a:p>
              <a:pPr marL="104775" indent="-104775" algn="l" defTabSz="895350">
                <a:defRPr/>
              </a:pPr>
              <a:r>
                <a:rPr lang="en-US" altLang="zh-CN" sz="1000" b="0">
                  <a:solidFill>
                    <a:schemeClr val="tx1"/>
                  </a:solidFill>
                </a:rPr>
                <a:t>1 Footnote</a:t>
              </a:r>
            </a:p>
          </p:txBody>
        </p:sp>
        <p:sp>
          <p:nvSpPr>
            <p:cNvPr id="7" name="McK 5. Source" hidden="1"/>
            <p:cNvSpPr>
              <a:spLocks noChangeArrowheads="1"/>
            </p:cNvSpPr>
            <p:nvPr userDrawn="1"/>
          </p:nvSpPr>
          <p:spPr bwMode="gray">
            <a:xfrm>
              <a:off x="296" y="3105"/>
              <a:ext cx="4830" cy="96"/>
            </a:xfrm>
            <a:prstGeom prst="rect">
              <a:avLst/>
            </a:prstGeom>
            <a:noFill/>
            <a:ln w="9525">
              <a:noFill/>
              <a:miter lim="800000"/>
              <a:headEnd/>
              <a:tailEnd/>
            </a:ln>
            <a:effectLst/>
          </p:spPr>
          <p:txBody>
            <a:bodyPr lIns="0" tIns="0" rIns="0" bIns="0" anchor="b">
              <a:spAutoFit/>
            </a:bodyPr>
            <a:lstStyle/>
            <a:p>
              <a:pPr marL="495300" indent="-495300" algn="l" defTabSz="895350">
                <a:tabLst>
                  <a:tab pos="487363" algn="l"/>
                </a:tabLst>
                <a:defRPr/>
              </a:pPr>
              <a:r>
                <a:rPr lang="en-US" altLang="zh-CN" sz="1000" b="0">
                  <a:solidFill>
                    <a:srgbClr val="000000"/>
                  </a:solidFill>
                </a:rPr>
                <a:t>Source:	Source</a:t>
              </a:r>
            </a:p>
          </p:txBody>
        </p:sp>
      </p:grpSp>
      <p:sp>
        <p:nvSpPr>
          <p:cNvPr id="8" name="McK 3. Unit of measure" hidden="1"/>
          <p:cNvSpPr txBox="1">
            <a:spLocks noChangeArrowheads="1"/>
          </p:cNvSpPr>
          <p:nvPr>
            <p:custDataLst>
              <p:tags r:id="rId3"/>
            </p:custDataLst>
          </p:nvPr>
        </p:nvSpPr>
        <p:spPr bwMode="gray">
          <a:xfrm>
            <a:off x="473075" y="635000"/>
            <a:ext cx="6189663" cy="212725"/>
          </a:xfrm>
          <a:prstGeom prst="rect">
            <a:avLst/>
          </a:prstGeom>
          <a:noFill/>
          <a:ln w="9525" algn="ctr">
            <a:noFill/>
            <a:miter lim="800000"/>
            <a:headEnd/>
            <a:tailEnd/>
          </a:ln>
          <a:effectLst/>
        </p:spPr>
        <p:txBody>
          <a:bodyPr wrap="none" lIns="0" tIns="0" rIns="0" bIns="0">
            <a:spAutoFit/>
          </a:bodyPr>
          <a:lstStyle/>
          <a:p>
            <a:pPr algn="l">
              <a:defRPr/>
            </a:pPr>
            <a:r>
              <a:rPr lang="en-US" altLang="zh-CN">
                <a:solidFill>
                  <a:srgbClr val="808080"/>
                </a:solidFill>
              </a:rPr>
              <a:t>Subtitle or Unit of measure, when both Unit of measure goes into 2nd line</a:t>
            </a:r>
          </a:p>
        </p:txBody>
      </p:sp>
      <p:sp>
        <p:nvSpPr>
          <p:cNvPr id="9" name="McK 1. On-page tracker" hidden="1"/>
          <p:cNvSpPr>
            <a:spLocks noChangeArrowheads="1"/>
          </p:cNvSpPr>
          <p:nvPr>
            <p:custDataLst>
              <p:tags r:id="rId4"/>
            </p:custDataLst>
          </p:nvPr>
        </p:nvSpPr>
        <p:spPr bwMode="gray">
          <a:xfrm>
            <a:off x="473075" y="58738"/>
            <a:ext cx="850900" cy="212725"/>
          </a:xfrm>
          <a:prstGeom prst="rect">
            <a:avLst/>
          </a:prstGeom>
          <a:noFill/>
          <a:ln w="9525">
            <a:noFill/>
            <a:miter lim="800000"/>
            <a:headEnd/>
            <a:tailEnd/>
          </a:ln>
          <a:effectLst/>
        </p:spPr>
        <p:txBody>
          <a:bodyPr wrap="none" lIns="0" tIns="0" rIns="0" bIns="0">
            <a:spAutoFit/>
          </a:bodyPr>
          <a:lstStyle/>
          <a:p>
            <a:pPr algn="l">
              <a:defRPr/>
            </a:pPr>
            <a:r>
              <a:rPr lang="en-US" b="0">
                <a:solidFill>
                  <a:srgbClr val="808080"/>
                </a:solidFill>
              </a:rPr>
              <a:t>TRACKER</a:t>
            </a:r>
          </a:p>
        </p:txBody>
      </p:sp>
      <p:grpSp>
        <p:nvGrpSpPr>
          <p:cNvPr id="10" name="LegendBoxes" hidden="1"/>
          <p:cNvGrpSpPr>
            <a:grpSpLocks/>
          </p:cNvGrpSpPr>
          <p:nvPr>
            <p:custDataLst>
              <p:tags r:id="rId5"/>
            </p:custDataLst>
          </p:nvPr>
        </p:nvGrpSpPr>
        <p:grpSpPr bwMode="auto">
          <a:xfrm>
            <a:off x="7829550" y="746125"/>
            <a:ext cx="842963" cy="976313"/>
            <a:chOff x="3394" y="519"/>
            <a:chExt cx="531" cy="615"/>
          </a:xfrm>
        </p:grpSpPr>
        <p:sp>
          <p:nvSpPr>
            <p:cNvPr id="11"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p:spPr>
          <p:txBody>
            <a:bodyPr wrap="none"/>
            <a:lstStyle/>
            <a:p>
              <a:pPr>
                <a:defRPr/>
              </a:pPr>
              <a:endParaRPr lang="en-US"/>
            </a:p>
          </p:txBody>
        </p:sp>
        <p:sp>
          <p:nvSpPr>
            <p:cNvPr id="12"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p:spPr>
          <p:txBody>
            <a:bodyPr wrap="none"/>
            <a:lstStyle/>
            <a:p>
              <a:pPr>
                <a:defRPr/>
              </a:pPr>
              <a:endParaRPr lang="en-US"/>
            </a:p>
          </p:txBody>
        </p:sp>
        <p:sp>
          <p:nvSpPr>
            <p:cNvPr id="13"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p:spPr>
          <p:txBody>
            <a:bodyPr wrap="none"/>
            <a:lstStyle/>
            <a:p>
              <a:pPr>
                <a:defRPr/>
              </a:pPr>
              <a:endParaRPr lang="en-US"/>
            </a:p>
          </p:txBody>
        </p:sp>
        <p:sp>
          <p:nvSpPr>
            <p:cNvPr id="14"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p:spPr>
          <p:txBody>
            <a:bodyPr wrap="none"/>
            <a:lstStyle/>
            <a:p>
              <a:pPr>
                <a:defRPr/>
              </a:pPr>
              <a:endParaRPr lang="en-US"/>
            </a:p>
          </p:txBody>
        </p:sp>
        <p:sp>
          <p:nvSpPr>
            <p:cNvPr id="15" name="Legend1" hidden="1"/>
            <p:cNvSpPr>
              <a:spLocks noChangeArrowheads="1"/>
            </p:cNvSpPr>
            <p:nvPr userDrawn="1"/>
          </p:nvSpPr>
          <p:spPr bwMode="gray">
            <a:xfrm>
              <a:off x="3554" y="51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16" name="Legend2" hidden="1"/>
            <p:cNvSpPr>
              <a:spLocks noChangeArrowheads="1"/>
            </p:cNvSpPr>
            <p:nvPr userDrawn="1"/>
          </p:nvSpPr>
          <p:spPr bwMode="gray">
            <a:xfrm>
              <a:off x="3554" y="684"/>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17" name="Legend3" hidden="1"/>
            <p:cNvSpPr>
              <a:spLocks noChangeArrowheads="1"/>
            </p:cNvSpPr>
            <p:nvPr userDrawn="1"/>
          </p:nvSpPr>
          <p:spPr bwMode="gray">
            <a:xfrm>
              <a:off x="3554" y="84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sp>
          <p:nvSpPr>
            <p:cNvPr id="18" name="Legend4" hidden="1"/>
            <p:cNvSpPr>
              <a:spLocks noChangeArrowheads="1"/>
            </p:cNvSpPr>
            <p:nvPr userDrawn="1"/>
          </p:nvSpPr>
          <p:spPr bwMode="gray">
            <a:xfrm>
              <a:off x="3554" y="1019"/>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4</a:t>
              </a:r>
            </a:p>
          </p:txBody>
        </p:sp>
      </p:grpSp>
      <p:grpSp>
        <p:nvGrpSpPr>
          <p:cNvPr id="19" name="LegendLines" hidden="1"/>
          <p:cNvGrpSpPr>
            <a:grpSpLocks/>
          </p:cNvGrpSpPr>
          <p:nvPr>
            <p:custDataLst>
              <p:tags r:id="rId6"/>
            </p:custDataLst>
          </p:nvPr>
        </p:nvGrpSpPr>
        <p:grpSpPr bwMode="auto">
          <a:xfrm>
            <a:off x="7512050" y="746125"/>
            <a:ext cx="1160463" cy="706438"/>
            <a:chOff x="2411" y="2750"/>
            <a:chExt cx="731" cy="445"/>
          </a:xfrm>
        </p:grpSpPr>
        <p:sp>
          <p:nvSpPr>
            <p:cNvPr id="20"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p:spPr>
          <p:txBody>
            <a:bodyPr/>
            <a:lstStyle/>
            <a:p>
              <a:pPr>
                <a:defRPr/>
              </a:pPr>
              <a:endParaRPr lang="en-US"/>
            </a:p>
          </p:txBody>
        </p:sp>
        <p:sp>
          <p:nvSpPr>
            <p:cNvPr id="21"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p:spPr>
          <p:txBody>
            <a:bodyPr/>
            <a:lstStyle/>
            <a:p>
              <a:pPr>
                <a:defRPr/>
              </a:pPr>
              <a:endParaRPr lang="en-US"/>
            </a:p>
          </p:txBody>
        </p:sp>
        <p:sp>
          <p:nvSpPr>
            <p:cNvPr id="22"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p:spPr>
          <p:txBody>
            <a:bodyPr/>
            <a:lstStyle/>
            <a:p>
              <a:pPr>
                <a:defRPr/>
              </a:pPr>
              <a:endParaRPr lang="en-US"/>
            </a:p>
          </p:txBody>
        </p:sp>
        <p:sp>
          <p:nvSpPr>
            <p:cNvPr id="23" name="Legend1" hidden="1"/>
            <p:cNvSpPr>
              <a:spLocks noChangeArrowheads="1"/>
            </p:cNvSpPr>
            <p:nvPr userDrawn="1"/>
          </p:nvSpPr>
          <p:spPr bwMode="gray">
            <a:xfrm>
              <a:off x="2771" y="275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24" name="Legend2" hidden="1"/>
            <p:cNvSpPr>
              <a:spLocks noChangeArrowheads="1"/>
            </p:cNvSpPr>
            <p:nvPr userDrawn="1"/>
          </p:nvSpPr>
          <p:spPr bwMode="gray">
            <a:xfrm>
              <a:off x="2771" y="2915"/>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25" name="Legend3" hidden="1"/>
            <p:cNvSpPr>
              <a:spLocks noChangeArrowheads="1"/>
            </p:cNvSpPr>
            <p:nvPr userDrawn="1"/>
          </p:nvSpPr>
          <p:spPr bwMode="gray">
            <a:xfrm>
              <a:off x="2771" y="308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grpSp>
      <p:grpSp>
        <p:nvGrpSpPr>
          <p:cNvPr id="26" name="ACET" hidden="1"/>
          <p:cNvGrpSpPr>
            <a:grpSpLocks/>
          </p:cNvGrpSpPr>
          <p:nvPr>
            <p:custDataLst>
              <p:tags r:id="rId7"/>
            </p:custDataLst>
          </p:nvPr>
        </p:nvGrpSpPr>
        <p:grpSpPr bwMode="auto">
          <a:xfrm>
            <a:off x="935038" y="1417638"/>
            <a:ext cx="4264025" cy="508000"/>
            <a:chOff x="915" y="710"/>
            <a:chExt cx="2686" cy="320"/>
          </a:xfrm>
        </p:grpSpPr>
        <p:cxnSp>
          <p:nvCxnSpPr>
            <p:cNvPr id="27" name="AutoShape 53" hidden="1"/>
            <p:cNvCxnSpPr>
              <a:cxnSpLocks noChangeShapeType="1"/>
            </p:cNvCxnSpPr>
            <p:nvPr/>
          </p:nvCxnSpPr>
          <p:spPr bwMode="gray">
            <a:xfrm>
              <a:off x="915" y="1030"/>
              <a:ext cx="2686" cy="0"/>
            </a:xfrm>
            <a:prstGeom prst="straightConnector1">
              <a:avLst/>
            </a:prstGeom>
            <a:noFill/>
            <a:ln w="9525">
              <a:solidFill>
                <a:schemeClr val="tx1"/>
              </a:solidFill>
              <a:round/>
              <a:headEnd/>
              <a:tailEnd/>
            </a:ln>
          </p:spPr>
        </p:cxnSp>
        <p:sp>
          <p:nvSpPr>
            <p:cNvPr id="28" name="AutoShape 54" hidden="1"/>
            <p:cNvSpPr>
              <a:spLocks noChangeArrowheads="1"/>
            </p:cNvSpPr>
            <p:nvPr/>
          </p:nvSpPr>
          <p:spPr bwMode="gray">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lgn="l">
                <a:defRPr/>
              </a:pPr>
              <a:r>
                <a:rPr lang="en-US" sz="1600">
                  <a:solidFill>
                    <a:schemeClr val="tx1"/>
                  </a:solidFill>
                </a:rPr>
                <a:t>Title</a:t>
              </a:r>
            </a:p>
            <a:p>
              <a:pPr algn="l">
                <a:defRPr/>
              </a:pPr>
              <a:r>
                <a:rPr lang="en-US" sz="1600" b="0">
                  <a:solidFill>
                    <a:srgbClr val="808080"/>
                  </a:solidFill>
                </a:rPr>
                <a:t>Unit of measure</a:t>
              </a:r>
            </a:p>
          </p:txBody>
        </p:sp>
      </p:grpSp>
      <p:grpSp>
        <p:nvGrpSpPr>
          <p:cNvPr id="29" name="Sticker" hidden="1"/>
          <p:cNvGrpSpPr>
            <a:grpSpLocks/>
          </p:cNvGrpSpPr>
          <p:nvPr>
            <p:custDataLst>
              <p:tags r:id="rId8"/>
            </p:custDataLst>
          </p:nvPr>
        </p:nvGrpSpPr>
        <p:grpSpPr bwMode="auto">
          <a:xfrm>
            <a:off x="7578725" y="746125"/>
            <a:ext cx="1093788" cy="209550"/>
            <a:chOff x="4817" y="376"/>
            <a:chExt cx="689" cy="132"/>
          </a:xfrm>
        </p:grpSpPr>
        <p:cxnSp>
          <p:nvCxnSpPr>
            <p:cNvPr id="30" name="AutoShape 56"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p:spPr>
        </p:cxnSp>
        <p:sp>
          <p:nvSpPr>
            <p:cNvPr id="31" name="AutoShape 57" hidden="1"/>
            <p:cNvSpPr>
              <a:spLocks noChangeArrowheads="1"/>
            </p:cNvSpPr>
            <p:nvPr userDrawn="1"/>
          </p:nvSpPr>
          <p:spPr bwMode="gray">
            <a:xfrm>
              <a:off x="4817" y="376"/>
              <a:ext cx="689" cy="132"/>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US" sz="1200" b="0">
                  <a:solidFill>
                    <a:srgbClr val="808080"/>
                  </a:solidFill>
                </a:rPr>
                <a:t>ILLUSTRATIVE</a:t>
              </a:r>
            </a:p>
          </p:txBody>
        </p:sp>
        <p:cxnSp>
          <p:nvCxnSpPr>
            <p:cNvPr id="32" name="AutoShape 58"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p:spPr>
        </p:cxnSp>
      </p:grpSp>
      <p:grpSp>
        <p:nvGrpSpPr>
          <p:cNvPr id="33" name="LegendMoons" hidden="1"/>
          <p:cNvGrpSpPr>
            <a:grpSpLocks/>
          </p:cNvGrpSpPr>
          <p:nvPr/>
        </p:nvGrpSpPr>
        <p:grpSpPr bwMode="auto">
          <a:xfrm>
            <a:off x="7813675" y="746125"/>
            <a:ext cx="858838" cy="1233488"/>
            <a:chOff x="4922" y="1053"/>
            <a:chExt cx="541" cy="777"/>
          </a:xfrm>
        </p:grpSpPr>
        <p:grpSp>
          <p:nvGrpSpPr>
            <p:cNvPr id="34" name="MoonLegend1" hidden="1"/>
            <p:cNvGrpSpPr>
              <a:grpSpLocks noChangeAspect="1"/>
            </p:cNvGrpSpPr>
            <p:nvPr>
              <p:custDataLst>
                <p:tags r:id="rId10"/>
              </p:custDataLst>
            </p:nvPr>
          </p:nvGrpSpPr>
          <p:grpSpPr bwMode="auto">
            <a:xfrm>
              <a:off x="4922" y="1055"/>
              <a:ext cx="112" cy="112"/>
              <a:chOff x="4533" y="183"/>
              <a:chExt cx="144" cy="144"/>
            </a:xfrm>
          </p:grpSpPr>
          <p:sp>
            <p:nvSpPr>
              <p:cNvPr id="52" name="Oval 33" hidden="1"/>
              <p:cNvSpPr>
                <a:spLocks noChangeAspect="1" noChangeArrowheads="1"/>
              </p:cNvSpPr>
              <p:nvPr>
                <p:custDataLst>
                  <p:tags r:id="rId23"/>
                </p:custDataLst>
              </p:nvPr>
            </p:nvSpPr>
            <p:spPr bwMode="gray">
              <a:xfrm>
                <a:off x="4533" y="183"/>
                <a:ext cx="144" cy="144"/>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53" name="Arc 34" hidden="1"/>
              <p:cNvSpPr>
                <a:spLocks noChangeAspect="1"/>
              </p:cNvSpPr>
              <p:nvPr>
                <p:custDataLst>
                  <p:tags r:id="rId24"/>
                </p:custDataLst>
              </p:nvPr>
            </p:nvSpPr>
            <p:spPr bwMode="gray">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bg1"/>
              </a:solidFill>
              <a:ln w="9525">
                <a:solidFill>
                  <a:schemeClr val="tx1"/>
                </a:solidFill>
                <a:round/>
                <a:headEnd/>
                <a:tailEnd/>
              </a:ln>
              <a:effectLst/>
            </p:spPr>
            <p:txBody>
              <a:bodyPr wrap="none"/>
              <a:lstStyle/>
              <a:p>
                <a:pPr>
                  <a:defRPr/>
                </a:pPr>
                <a:endParaRPr lang="en-US"/>
              </a:p>
            </p:txBody>
          </p:sp>
        </p:grpSp>
        <p:sp>
          <p:nvSpPr>
            <p:cNvPr id="35" name="Legend1" hidden="1"/>
            <p:cNvSpPr>
              <a:spLocks noChangeArrowheads="1"/>
            </p:cNvSpPr>
            <p:nvPr/>
          </p:nvSpPr>
          <p:spPr bwMode="gray">
            <a:xfrm>
              <a:off x="5092" y="1053"/>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1</a:t>
              </a:r>
            </a:p>
          </p:txBody>
        </p:sp>
        <p:sp>
          <p:nvSpPr>
            <p:cNvPr id="36" name="Legend2" hidden="1"/>
            <p:cNvSpPr>
              <a:spLocks noChangeArrowheads="1"/>
            </p:cNvSpPr>
            <p:nvPr/>
          </p:nvSpPr>
          <p:spPr bwMode="gray">
            <a:xfrm>
              <a:off x="5092" y="1218"/>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2</a:t>
              </a:r>
            </a:p>
          </p:txBody>
        </p:sp>
        <p:sp>
          <p:nvSpPr>
            <p:cNvPr id="37" name="Legend3" hidden="1"/>
            <p:cNvSpPr>
              <a:spLocks noChangeArrowheads="1"/>
            </p:cNvSpPr>
            <p:nvPr/>
          </p:nvSpPr>
          <p:spPr bwMode="gray">
            <a:xfrm>
              <a:off x="5092" y="1383"/>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3</a:t>
              </a:r>
            </a:p>
          </p:txBody>
        </p:sp>
        <p:sp>
          <p:nvSpPr>
            <p:cNvPr id="38" name="Legend4" hidden="1"/>
            <p:cNvSpPr>
              <a:spLocks noChangeArrowheads="1"/>
            </p:cNvSpPr>
            <p:nvPr/>
          </p:nvSpPr>
          <p:spPr bwMode="gray">
            <a:xfrm>
              <a:off x="5092" y="1550"/>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4</a:t>
              </a:r>
            </a:p>
          </p:txBody>
        </p:sp>
        <p:sp>
          <p:nvSpPr>
            <p:cNvPr id="39" name="Legend5" hidden="1"/>
            <p:cNvSpPr>
              <a:spLocks noChangeArrowheads="1"/>
            </p:cNvSpPr>
            <p:nvPr/>
          </p:nvSpPr>
          <p:spPr bwMode="gray">
            <a:xfrm>
              <a:off x="5092" y="1715"/>
              <a:ext cx="371" cy="115"/>
            </a:xfrm>
            <a:prstGeom prst="rect">
              <a:avLst/>
            </a:prstGeom>
            <a:noFill/>
            <a:ln w="9525">
              <a:noFill/>
              <a:miter lim="800000"/>
              <a:headEnd/>
              <a:tailEnd/>
            </a:ln>
            <a:effectLst/>
          </p:spPr>
          <p:txBody>
            <a:bodyPr wrap="none" lIns="0" tIns="0" rIns="0" bIns="0">
              <a:spAutoFit/>
            </a:bodyPr>
            <a:lstStyle/>
            <a:p>
              <a:pPr algn="l">
                <a:defRPr/>
              </a:pPr>
              <a:r>
                <a:rPr lang="en-US" sz="1200" b="0">
                  <a:solidFill>
                    <a:schemeClr val="tx1"/>
                  </a:solidFill>
                </a:rPr>
                <a:t>Legend5</a:t>
              </a:r>
            </a:p>
          </p:txBody>
        </p:sp>
        <p:grpSp>
          <p:nvGrpSpPr>
            <p:cNvPr id="40" name="MoonLegend2" hidden="1"/>
            <p:cNvGrpSpPr>
              <a:grpSpLocks noChangeAspect="1"/>
            </p:cNvGrpSpPr>
            <p:nvPr userDrawn="1">
              <p:custDataLst>
                <p:tags r:id="rId11"/>
              </p:custDataLst>
            </p:nvPr>
          </p:nvGrpSpPr>
          <p:grpSpPr bwMode="auto">
            <a:xfrm>
              <a:off x="4922" y="1220"/>
              <a:ext cx="112" cy="112"/>
              <a:chOff x="4922" y="1182"/>
              <a:chExt cx="112" cy="112"/>
            </a:xfrm>
          </p:grpSpPr>
          <p:sp>
            <p:nvSpPr>
              <p:cNvPr id="50" name="Oval 92" hidden="1"/>
              <p:cNvSpPr>
                <a:spLocks noChangeAspect="1" noChangeArrowheads="1"/>
              </p:cNvSpPr>
              <p:nvPr userDrawn="1">
                <p:custDataLst>
                  <p:tags r:id="rId21"/>
                </p:custDataLst>
              </p:nvPr>
            </p:nvSpPr>
            <p:spPr bwMode="gray">
              <a:xfrm>
                <a:off x="4922" y="1182"/>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51" name="Arc 93" hidden="1"/>
              <p:cNvSpPr>
                <a:spLocks noChangeAspect="1"/>
              </p:cNvSpPr>
              <p:nvPr userDrawn="1">
                <p:custDataLst>
                  <p:tags r:id="rId22"/>
                </p:custDataLst>
              </p:nvPr>
            </p:nvSpPr>
            <p:spPr bwMode="gray">
              <a:xfrm>
                <a:off x="4978" y="1182"/>
                <a:ext cx="56" cy="56"/>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1" name="MoonLegend3" hidden="1"/>
            <p:cNvGrpSpPr>
              <a:grpSpLocks noChangeAspect="1"/>
            </p:cNvGrpSpPr>
            <p:nvPr userDrawn="1">
              <p:custDataLst>
                <p:tags r:id="rId12"/>
              </p:custDataLst>
            </p:nvPr>
          </p:nvGrpSpPr>
          <p:grpSpPr bwMode="auto">
            <a:xfrm>
              <a:off x="4922" y="1385"/>
              <a:ext cx="112" cy="112"/>
              <a:chOff x="4922" y="1397"/>
              <a:chExt cx="112" cy="112"/>
            </a:xfrm>
          </p:grpSpPr>
          <p:sp>
            <p:nvSpPr>
              <p:cNvPr id="48" name="Oval 96" hidden="1"/>
              <p:cNvSpPr>
                <a:spLocks noChangeAspect="1" noChangeArrowheads="1"/>
              </p:cNvSpPr>
              <p:nvPr userDrawn="1">
                <p:custDataLst>
                  <p:tags r:id="rId19"/>
                </p:custDataLst>
              </p:nvPr>
            </p:nvSpPr>
            <p:spPr bwMode="gray">
              <a:xfrm>
                <a:off x="4922" y="139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9" name="Arc 97" hidden="1"/>
              <p:cNvSpPr>
                <a:spLocks noChangeAspect="1"/>
              </p:cNvSpPr>
              <p:nvPr userDrawn="1">
                <p:custDataLst>
                  <p:tags r:id="rId20"/>
                </p:custDataLst>
              </p:nvPr>
            </p:nvSpPr>
            <p:spPr bwMode="gray">
              <a:xfrm>
                <a:off x="4978" y="1397"/>
                <a:ext cx="56" cy="112"/>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2" name="MoonLegend4" hidden="1"/>
            <p:cNvGrpSpPr>
              <a:grpSpLocks noChangeAspect="1"/>
            </p:cNvGrpSpPr>
            <p:nvPr userDrawn="1">
              <p:custDataLst>
                <p:tags r:id="rId13"/>
              </p:custDataLst>
            </p:nvPr>
          </p:nvGrpSpPr>
          <p:grpSpPr bwMode="auto">
            <a:xfrm>
              <a:off x="4922" y="1550"/>
              <a:ext cx="112" cy="112"/>
              <a:chOff x="4922" y="1537"/>
              <a:chExt cx="112" cy="112"/>
            </a:xfrm>
          </p:grpSpPr>
          <p:sp>
            <p:nvSpPr>
              <p:cNvPr id="46" name="Oval 100" hidden="1"/>
              <p:cNvSpPr>
                <a:spLocks noChangeAspect="1" noChangeArrowheads="1"/>
              </p:cNvSpPr>
              <p:nvPr userDrawn="1">
                <p:custDataLst>
                  <p:tags r:id="rId17"/>
                </p:custDataLst>
              </p:nvPr>
            </p:nvSpPr>
            <p:spPr bwMode="gray">
              <a:xfrm>
                <a:off x="4922" y="153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7" name="Arc 101" hidden="1"/>
              <p:cNvSpPr>
                <a:spLocks noChangeAspect="1"/>
              </p:cNvSpPr>
              <p:nvPr userDrawn="1">
                <p:custDataLst>
                  <p:tags r:id="rId18"/>
                </p:custDataLst>
              </p:nvPr>
            </p:nvSpPr>
            <p:spPr bwMode="gray">
              <a:xfrm>
                <a:off x="4922" y="1537"/>
                <a:ext cx="112" cy="112"/>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9525">
                <a:solidFill>
                  <a:schemeClr val="tx1"/>
                </a:solidFill>
                <a:round/>
                <a:headEnd/>
                <a:tailEnd/>
              </a:ln>
              <a:effectLst/>
            </p:spPr>
            <p:txBody>
              <a:bodyPr wrap="none"/>
              <a:lstStyle/>
              <a:p>
                <a:pPr>
                  <a:defRPr/>
                </a:pPr>
                <a:endParaRPr lang="en-US"/>
              </a:p>
            </p:txBody>
          </p:sp>
        </p:grpSp>
        <p:grpSp>
          <p:nvGrpSpPr>
            <p:cNvPr id="43" name="MoonLegend5" hidden="1"/>
            <p:cNvGrpSpPr>
              <a:grpSpLocks noChangeAspect="1"/>
            </p:cNvGrpSpPr>
            <p:nvPr userDrawn="1">
              <p:custDataLst>
                <p:tags r:id="rId14"/>
              </p:custDataLst>
            </p:nvPr>
          </p:nvGrpSpPr>
          <p:grpSpPr bwMode="auto">
            <a:xfrm>
              <a:off x="4922" y="1716"/>
              <a:ext cx="112" cy="112"/>
              <a:chOff x="4922" y="1657"/>
              <a:chExt cx="112" cy="112"/>
            </a:xfrm>
          </p:grpSpPr>
          <p:sp>
            <p:nvSpPr>
              <p:cNvPr id="44" name="Oval 104" hidden="1"/>
              <p:cNvSpPr>
                <a:spLocks noChangeAspect="1" noChangeArrowheads="1"/>
              </p:cNvSpPr>
              <p:nvPr userDrawn="1">
                <p:custDataLst>
                  <p:tags r:id="rId15"/>
                </p:custDataLst>
              </p:nvPr>
            </p:nvSpPr>
            <p:spPr bwMode="gray">
              <a:xfrm>
                <a:off x="4922" y="1657"/>
                <a:ext cx="112" cy="112"/>
              </a:xfrm>
              <a:prstGeom prst="ellipse">
                <a:avLst/>
              </a:prstGeom>
              <a:solidFill>
                <a:schemeClr val="bg1"/>
              </a:solidFill>
              <a:ln w="9525">
                <a:solidFill>
                  <a:schemeClr val="tx1"/>
                </a:solidFill>
                <a:round/>
                <a:headEnd/>
                <a:tailEnd/>
              </a:ln>
              <a:effectLst/>
            </p:spPr>
            <p:txBody>
              <a:bodyPr wrap="none"/>
              <a:lstStyle/>
              <a:p>
                <a:pPr>
                  <a:defRPr/>
                </a:pPr>
                <a:endParaRPr lang="en-US"/>
              </a:p>
            </p:txBody>
          </p:sp>
          <p:sp>
            <p:nvSpPr>
              <p:cNvPr id="45" name="Oval 105" hidden="1"/>
              <p:cNvSpPr>
                <a:spLocks noChangeAspect="1" noChangeArrowheads="1"/>
              </p:cNvSpPr>
              <p:nvPr userDrawn="1">
                <p:custDataLst>
                  <p:tags r:id="rId16"/>
                </p:custDataLst>
              </p:nvPr>
            </p:nvSpPr>
            <p:spPr bwMode="gray">
              <a:xfrm>
                <a:off x="4922" y="1657"/>
                <a:ext cx="112" cy="112"/>
              </a:xfrm>
              <a:prstGeom prst="ellipse">
                <a:avLst/>
              </a:prstGeom>
              <a:solidFill>
                <a:schemeClr val="accent1"/>
              </a:solidFill>
              <a:ln w="9525">
                <a:solidFill>
                  <a:schemeClr val="tx1"/>
                </a:solidFill>
                <a:round/>
                <a:headEnd/>
                <a:tailEnd/>
              </a:ln>
              <a:effectLst/>
            </p:spPr>
            <p:txBody>
              <a:bodyPr wrap="none"/>
              <a:lstStyle/>
              <a:p>
                <a:pPr>
                  <a:defRPr/>
                </a:pPr>
                <a:endParaRPr lang="en-US"/>
              </a:p>
            </p:txBody>
          </p:sp>
        </p:grpSp>
      </p:grpSp>
      <p:sp>
        <p:nvSpPr>
          <p:cNvPr id="2" name="Title 1"/>
          <p:cNvSpPr>
            <a:spLocks noGrp="1"/>
          </p:cNvSpPr>
          <p:nvPr>
            <p:ph type="title"/>
          </p:nvPr>
        </p:nvSpPr>
        <p:spPr>
          <a:xfrm>
            <a:off x="473075" y="264964"/>
            <a:ext cx="7304088" cy="304800"/>
          </a:xfrm>
        </p:spPr>
        <p:txBody>
          <a:bodyPr/>
          <a:lstStyle>
            <a:lvl1pPr>
              <a:defRPr>
                <a:latin typeface="Verdana" pitchFamily="34" charset="0"/>
                <a:ea typeface="Verdana" pitchFamily="34" charset="0"/>
                <a:cs typeface="Verdana"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5" name="pg num"/>
          <p:cNvSpPr>
            <a:spLocks noGrp="1"/>
          </p:cNvSpPr>
          <p:nvPr>
            <p:ph type="sldNum" sz="quarter" idx="10"/>
            <p:custDataLst>
              <p:tags r:id="rId9"/>
            </p:custDataLst>
          </p:nvPr>
        </p:nvSpPr>
        <p:spPr/>
        <p:txBody>
          <a:bodyPr/>
          <a:lstStyle>
            <a:lvl1pPr>
              <a:defRPr/>
            </a:lvl1pPr>
          </a:lstStyle>
          <a:p>
            <a:pPr>
              <a:defRPr/>
            </a:pPr>
            <a:fld id="{5F2F3CC2-4F08-407C-93B6-F094B82ED66D}" type="slidenum">
              <a:rPr lang="en-US"/>
              <a:pPr>
                <a:defRPr/>
              </a:pPr>
              <a:t>‹#›</a:t>
            </a:fld>
            <a:endParaRPr lang="en-US"/>
          </a:p>
        </p:txBody>
      </p:sp>
      <p:pic>
        <p:nvPicPr>
          <p:cNvPr id="56" name="图片 55"/>
          <p:cNvPicPr/>
          <p:nvPr userDrawn="1"/>
        </p:nvPicPr>
        <p:blipFill>
          <a:blip r:embed="rId28"/>
          <a:stretch>
            <a:fillRect/>
          </a:stretch>
        </p:blipFill>
        <p:spPr>
          <a:xfrm>
            <a:off x="7777163" y="143022"/>
            <a:ext cx="1227138" cy="548684"/>
          </a:xfrm>
          <a:prstGeom prst="rect">
            <a:avLst/>
          </a:prstGeom>
          <a:noFill/>
          <a:ln w="9525">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dirty="0" smtClean="0"/>
              <a:t>协新科技</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pPr/>
              <a:t>‹#›</a:t>
            </a:fld>
            <a:endParaRPr lang="zh-CN" altLang="en-US"/>
          </a:p>
        </p:txBody>
      </p:sp>
      <p:pic>
        <p:nvPicPr>
          <p:cNvPr id="7" name="图片 6"/>
          <p:cNvPicPr/>
          <p:nvPr userDrawn="1"/>
        </p:nvPicPr>
        <p:blipFill>
          <a:blip r:embed="rId2"/>
          <a:stretch>
            <a:fillRect/>
          </a:stretch>
        </p:blipFill>
        <p:spPr>
          <a:xfrm>
            <a:off x="7777163" y="174921"/>
            <a:ext cx="1227138" cy="548684"/>
          </a:xfrm>
          <a:prstGeom prst="rect">
            <a:avLst/>
          </a:prstGeom>
          <a:noFill/>
          <a:ln w="9525">
            <a:noFill/>
          </a:ln>
        </p:spPr>
      </p:pic>
    </p:spTree>
    <p:extLst>
      <p:ext uri="{BB962C8B-B14F-4D97-AF65-F5344CB8AC3E}">
        <p14:creationId xmlns:p14="http://schemas.microsoft.com/office/powerpoint/2010/main" val="14462333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60364" y="131119"/>
            <a:ext cx="92172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900" dirty="0" smtClean="0">
                <a:solidFill>
                  <a:srgbClr val="000000"/>
                </a:solidFill>
                <a:latin typeface="Century Gothic"/>
                <a:ea typeface="ＭＳ Ｐゴシック"/>
              </a:rPr>
              <a:t>WORKING DRAFT</a:t>
            </a:r>
          </a:p>
        </p:txBody>
      </p:sp>
      <p:sp>
        <p:nvSpPr>
          <p:cNvPr id="6" name="Working Draft" hidden="1"/>
          <p:cNvSpPr txBox="1">
            <a:spLocks noChangeArrowheads="1"/>
          </p:cNvSpPr>
          <p:nvPr/>
        </p:nvSpPr>
        <p:spPr bwMode="auto">
          <a:xfrm>
            <a:off x="360344" y="268884"/>
            <a:ext cx="29270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GB" sz="900" b="0" smtClean="0">
                <a:solidFill>
                  <a:srgbClr val="000000"/>
                </a:solidFill>
                <a:latin typeface="Century Gothic"/>
                <a:ea typeface="ＭＳ Ｐゴシック"/>
              </a:rPr>
              <a:t>Last Modified 6/3/2014 2:44 PM China Standard Time</a:t>
            </a:r>
            <a:endParaRPr lang="en-US" sz="900" b="0" dirty="0" smtClean="0">
              <a:solidFill>
                <a:srgbClr val="000000"/>
              </a:solidFill>
              <a:latin typeface="Century Gothic"/>
              <a:ea typeface="ＭＳ Ｐゴシック"/>
            </a:endParaRPr>
          </a:p>
        </p:txBody>
      </p:sp>
      <p:sp>
        <p:nvSpPr>
          <p:cNvPr id="7" name="Printed" hidden="1"/>
          <p:cNvSpPr txBox="1">
            <a:spLocks noChangeArrowheads="1"/>
          </p:cNvSpPr>
          <p:nvPr/>
        </p:nvSpPr>
        <p:spPr bwMode="auto">
          <a:xfrm>
            <a:off x="360363" y="406650"/>
            <a:ext cx="252473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900" b="0" smtClean="0">
                <a:solidFill>
                  <a:srgbClr val="000000"/>
                </a:solidFill>
                <a:latin typeface="Century Gothic"/>
                <a:ea typeface="ＭＳ Ｐゴシック"/>
              </a:rPr>
              <a:t>Printed 29.05.2014 15:09 China Standard Time</a:t>
            </a:r>
            <a:endParaRPr lang="en-US" sz="900" b="0" dirty="0" smtClean="0">
              <a:solidFill>
                <a:srgbClr val="000000"/>
              </a:solidFill>
              <a:latin typeface="Century Gothic"/>
              <a:ea typeface="ＭＳ Ｐゴシック"/>
            </a:endParaRPr>
          </a:p>
        </p:txBody>
      </p:sp>
      <p:grpSp>
        <p:nvGrpSpPr>
          <p:cNvPr id="8" name="McK Title Elements" hidden="1"/>
          <p:cNvGrpSpPr>
            <a:grpSpLocks/>
          </p:cNvGrpSpPr>
          <p:nvPr userDrawn="1"/>
        </p:nvGrpSpPr>
        <p:grpSpPr bwMode="auto">
          <a:xfrm>
            <a:off x="360364" y="3956576"/>
            <a:ext cx="5036084" cy="470130"/>
            <a:chOff x="1663" y="3065"/>
            <a:chExt cx="3109" cy="387"/>
          </a:xfrm>
        </p:grpSpPr>
        <p:sp>
          <p:nvSpPr>
            <p:cNvPr id="9" name="McK Document type"/>
            <p:cNvSpPr txBox="1">
              <a:spLocks noChangeArrowheads="1"/>
            </p:cNvSpPr>
            <p:nvPr/>
          </p:nvSpPr>
          <p:spPr bwMode="auto">
            <a:xfrm>
              <a:off x="1663" y="306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1400" b="0" dirty="0" smtClean="0">
                  <a:solidFill>
                    <a:srgbClr val="000000"/>
                  </a:solidFill>
                  <a:latin typeface="Century Gothic"/>
                  <a:ea typeface="ＭＳ Ｐゴシック"/>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1400" b="0" dirty="0" smtClean="0">
                  <a:solidFill>
                    <a:srgbClr val="000000"/>
                  </a:solidFill>
                  <a:latin typeface="Century Gothic"/>
                  <a:ea typeface="ＭＳ Ｐゴシック"/>
                </a:rPr>
                <a:t>Date</a:t>
              </a:r>
            </a:p>
          </p:txBody>
        </p:sp>
      </p:grpSp>
      <p:sp>
        <p:nvSpPr>
          <p:cNvPr id="13314" name="Rectangle 1026"/>
          <p:cNvSpPr>
            <a:spLocks noGrp="1" noChangeArrowheads="1"/>
          </p:cNvSpPr>
          <p:nvPr userDrawn="1">
            <p:ph type="ctrTitle"/>
          </p:nvPr>
        </p:nvSpPr>
        <p:spPr bwMode="auto">
          <a:xfrm>
            <a:off x="360418" y="1175507"/>
            <a:ext cx="7177087" cy="492443"/>
          </a:xfrm>
          <a:prstGeom prst="rect">
            <a:avLst/>
          </a:prstGeom>
        </p:spPr>
        <p:txBody>
          <a:bodyPr>
            <a:spAutoFit/>
          </a:bodyPr>
          <a:lstStyle>
            <a:lvl1pPr>
              <a:defRPr sz="3200" b="1"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0418" y="2689036"/>
            <a:ext cx="7177087" cy="246221"/>
          </a:xfrm>
        </p:spPr>
        <p:txBody>
          <a:bodyPr>
            <a:spAutoFit/>
          </a:bodyPr>
          <a:lstStyle>
            <a:lvl1pPr>
              <a:defRPr sz="1600" baseline="0">
                <a:latin typeface="+mj-lt"/>
                <a:ea typeface="+mj-ea"/>
              </a:defRPr>
            </a:lvl1pPr>
          </a:lstStyle>
          <a:p>
            <a:pPr lvl="0"/>
            <a:r>
              <a:rPr lang="en-US" noProof="0" smtClean="0"/>
              <a:t>Click to edit Master subtitle style</a:t>
            </a:r>
            <a:endParaRPr lang="en-US" noProof="0" dirty="0" smtClean="0"/>
          </a:p>
        </p:txBody>
      </p:sp>
      <p:cxnSp>
        <p:nvCxnSpPr>
          <p:cNvPr id="19" name="Straight Connector 18"/>
          <p:cNvCxnSpPr>
            <a:cxnSpLocks/>
          </p:cNvCxnSpPr>
          <p:nvPr userDrawn="1"/>
        </p:nvCxnSpPr>
        <p:spPr bwMode="auto">
          <a:xfrm>
            <a:off x="360418" y="679849"/>
            <a:ext cx="7177087" cy="1190"/>
          </a:xfrm>
          <a:prstGeom prst="line">
            <a:avLst/>
          </a:prstGeom>
          <a:ln w="15875" cmpd="sng">
            <a:solidFill>
              <a:srgbClr val="00B050"/>
            </a:solidFill>
          </a:ln>
          <a:effectLst/>
        </p:spPr>
        <p:style>
          <a:lnRef idx="2">
            <a:schemeClr val="accent1"/>
          </a:lnRef>
          <a:fillRef idx="0">
            <a:schemeClr val="accent1"/>
          </a:fillRef>
          <a:effectRef idx="1">
            <a:schemeClr val="accent1"/>
          </a:effectRef>
          <a:fontRef idx="minor">
            <a:schemeClr val="tx1"/>
          </a:fontRef>
        </p:style>
      </p:cxnSp>
      <p:sp>
        <p:nvSpPr>
          <p:cNvPr id="26" name="doc id"/>
          <p:cNvSpPr>
            <a:spLocks noChangeArrowheads="1"/>
          </p:cNvSpPr>
          <p:nvPr userDrawn="1">
            <p:custDataLst>
              <p:tags r:id="rId1"/>
            </p:custDataLst>
          </p:nvPr>
        </p:nvSpPr>
        <p:spPr bwMode="auto">
          <a:xfrm>
            <a:off x="7164536"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9"/>
            <a:endParaRPr lang="en-US" sz="800" b="0" dirty="0">
              <a:solidFill>
                <a:srgbClr val="000000"/>
              </a:solidFill>
              <a:latin typeface="Century Gothic"/>
              <a:ea typeface="ＭＳ Ｐゴシック"/>
            </a:endParaRPr>
          </a:p>
        </p:txBody>
      </p:sp>
      <p:pic>
        <p:nvPicPr>
          <p:cNvPr id="13" name="图片 12"/>
          <p:cNvPicPr/>
          <p:nvPr userDrawn="1"/>
        </p:nvPicPr>
        <p:blipFill>
          <a:blip r:embed="rId3"/>
          <a:stretch>
            <a:fillRect/>
          </a:stretch>
        </p:blipFill>
        <p:spPr>
          <a:xfrm>
            <a:off x="7835150" y="254130"/>
            <a:ext cx="1227138" cy="548684"/>
          </a:xfrm>
          <a:prstGeom prst="rect">
            <a:avLst/>
          </a:prstGeom>
          <a:noFill/>
          <a:ln w="9525">
            <a:noFill/>
          </a:ln>
        </p:spPr>
      </p:pic>
    </p:spTree>
    <p:extLst>
      <p:ext uri="{BB962C8B-B14F-4D97-AF65-F5344CB8AC3E}">
        <p14:creationId xmlns:p14="http://schemas.microsoft.com/office/powerpoint/2010/main" val="338533367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p>
            <a:r>
              <a:rPr lang="en-US" smtClean="0"/>
              <a:t>Click to edit Master title style</a:t>
            </a:r>
            <a:endParaRPr lang="en-US" dirty="0"/>
          </a:p>
        </p:txBody>
      </p:sp>
      <p:sp>
        <p:nvSpPr>
          <p:cNvPr id="5" name="Slide Number"/>
          <p:cNvSpPr txBox="1">
            <a:spLocks/>
          </p:cNvSpPr>
          <p:nvPr userDrawn="1"/>
        </p:nvSpPr>
        <p:spPr bwMode="auto">
          <a:xfrm>
            <a:off x="8719296" y="4917801"/>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4400"/>
            <a:fld id="{42C328C1-A84F-4A39-A664-DBA00541A8C6}" type="slidenum">
              <a:rPr lang="en-US" sz="800" b="0" smtClean="0">
                <a:solidFill>
                  <a:srgbClr val="000000"/>
                </a:solidFill>
                <a:ea typeface="ＭＳ Ｐゴシック"/>
              </a:rPr>
              <a:pPr algn="r" defTabSz="914400"/>
              <a:t>‹#›</a:t>
            </a:fld>
            <a:endParaRPr lang="en-US" sz="800" b="0" dirty="0">
              <a:solidFill>
                <a:srgbClr val="000000"/>
              </a:solidFill>
              <a:ea typeface="ＭＳ Ｐゴシック"/>
            </a:endParaRPr>
          </a:p>
        </p:txBody>
      </p:sp>
    </p:spTree>
    <p:extLst>
      <p:ext uri="{BB962C8B-B14F-4D97-AF65-F5344CB8AC3E}">
        <p14:creationId xmlns:p14="http://schemas.microsoft.com/office/powerpoint/2010/main" val="2116452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pSp>
        <p:nvGrpSpPr>
          <p:cNvPr id="5" name="McK Slide Elements"/>
          <p:cNvGrpSpPr>
            <a:grpSpLocks/>
          </p:cNvGrpSpPr>
          <p:nvPr userDrawn="1"/>
        </p:nvGrpSpPr>
        <p:grpSpPr bwMode="auto">
          <a:xfrm>
            <a:off x="469900" y="4729163"/>
            <a:ext cx="7667625" cy="352425"/>
            <a:chOff x="296" y="2979"/>
            <a:chExt cx="4830" cy="222"/>
          </a:xfrm>
        </p:grpSpPr>
        <p:sp>
          <p:nvSpPr>
            <p:cNvPr id="6" name="McK 4. Footnote" hidden="1"/>
            <p:cNvSpPr txBox="1">
              <a:spLocks noChangeArrowheads="1"/>
            </p:cNvSpPr>
            <p:nvPr userDrawn="1"/>
          </p:nvSpPr>
          <p:spPr bwMode="gray">
            <a:xfrm>
              <a:off x="296" y="2979"/>
              <a:ext cx="4830" cy="96"/>
            </a:xfrm>
            <a:prstGeom prst="rect">
              <a:avLst/>
            </a:prstGeom>
            <a:noFill/>
            <a:ln>
              <a:noFill/>
            </a:ln>
            <a:extLst/>
          </p:spPr>
          <p:txBody>
            <a:bodyPr lIns="0" tIns="0" rIns="0" bIns="0" anchor="b">
              <a:spAutoFit/>
            </a:bodyPr>
            <a:lstStyle>
              <a:lvl1pPr marL="104775" indent="-104775" defTabSz="895350" eaLnBrk="0" hangingPunct="0">
                <a:defRPr sz="1400" b="1">
                  <a:solidFill>
                    <a:schemeClr val="bg1"/>
                  </a:solidFill>
                  <a:latin typeface="Arial" charset="0"/>
                  <a:ea typeface="MS PGothic" charset="0"/>
                  <a:cs typeface="MS PGothic" charset="0"/>
                </a:defRPr>
              </a:lvl1pPr>
              <a:lvl2pPr marL="742950" indent="-285750" defTabSz="895350" eaLnBrk="0" hangingPunct="0">
                <a:defRPr sz="1400" b="1">
                  <a:solidFill>
                    <a:schemeClr val="bg1"/>
                  </a:solidFill>
                  <a:latin typeface="Arial" charset="0"/>
                  <a:ea typeface="MS PGothic" charset="0"/>
                  <a:cs typeface="MS PGothic" charset="0"/>
                </a:defRPr>
              </a:lvl2pPr>
              <a:lvl3pPr marL="1143000" indent="-228600" defTabSz="895350" eaLnBrk="0" hangingPunct="0">
                <a:defRPr sz="1400" b="1">
                  <a:solidFill>
                    <a:schemeClr val="bg1"/>
                  </a:solidFill>
                  <a:latin typeface="Arial" charset="0"/>
                  <a:ea typeface="MS PGothic" charset="0"/>
                  <a:cs typeface="MS PGothic" charset="0"/>
                </a:defRPr>
              </a:lvl3pPr>
              <a:lvl4pPr marL="1600200" indent="-228600" defTabSz="895350" eaLnBrk="0" hangingPunct="0">
                <a:defRPr sz="1400" b="1">
                  <a:solidFill>
                    <a:schemeClr val="bg1"/>
                  </a:solidFill>
                  <a:latin typeface="Arial" charset="0"/>
                  <a:ea typeface="MS PGothic" charset="0"/>
                  <a:cs typeface="MS PGothic" charset="0"/>
                </a:defRPr>
              </a:lvl4pPr>
              <a:lvl5pPr marL="2057400" indent="-228600" defTabSz="895350" eaLnBrk="0" hangingPunct="0">
                <a:defRPr sz="1400" b="1">
                  <a:solidFill>
                    <a:schemeClr val="bg1"/>
                  </a:solidFill>
                  <a:latin typeface="Arial" charset="0"/>
                  <a:ea typeface="MS PGothic" charset="0"/>
                  <a:cs typeface="MS PGothic" charset="0"/>
                </a:defRPr>
              </a:lvl5pPr>
              <a:lvl6pPr marL="25146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6pPr>
              <a:lvl7pPr marL="29718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7pPr>
              <a:lvl8pPr marL="34290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8pPr>
              <a:lvl9pPr marL="3886200" indent="-228600" algn="ctr" defTabSz="895350" eaLnBrk="0" fontAlgn="base" hangingPunct="0">
                <a:spcBef>
                  <a:spcPct val="0"/>
                </a:spcBef>
                <a:spcAft>
                  <a:spcPct val="0"/>
                </a:spcAft>
                <a:defRPr sz="1400" b="1">
                  <a:solidFill>
                    <a:schemeClr val="bg1"/>
                  </a:solidFill>
                  <a:latin typeface="Arial" charset="0"/>
                  <a:ea typeface="MS PGothic" charset="0"/>
                  <a:cs typeface="MS PGothic" charset="0"/>
                </a:defRPr>
              </a:lvl9pPr>
            </a:lstStyle>
            <a:p>
              <a:pPr algn="l" eaLnBrk="1" hangingPunct="1">
                <a:defRPr/>
              </a:pPr>
              <a:r>
                <a:rPr lang="en-US" altLang="zh-CN" sz="1000" b="0" smtClean="0">
                  <a:solidFill>
                    <a:srgbClr val="000000"/>
                  </a:solidFill>
                  <a:cs typeface="Arial" charset="0"/>
                </a:rPr>
                <a:t>1 Footnote</a:t>
              </a:r>
            </a:p>
          </p:txBody>
        </p:sp>
        <p:sp>
          <p:nvSpPr>
            <p:cNvPr id="7" name="McK 5. Source" hidden="1"/>
            <p:cNvSpPr>
              <a:spLocks noChangeArrowheads="1"/>
            </p:cNvSpPr>
            <p:nvPr userDrawn="1"/>
          </p:nvSpPr>
          <p:spPr bwMode="gray">
            <a:xfrm>
              <a:off x="296" y="3105"/>
              <a:ext cx="4830"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marL="495300" indent="-495300" algn="l" defTabSz="895350">
                <a:tabLst>
                  <a:tab pos="487363" algn="l"/>
                </a:tabLst>
              </a:pPr>
              <a:r>
                <a:rPr lang="en-US" altLang="zh-CN" sz="1000" b="0">
                  <a:solidFill>
                    <a:srgbClr val="000000"/>
                  </a:solidFill>
                  <a:latin typeface="Arial" charset="0"/>
                </a:rPr>
                <a:t>Source:	Source</a:t>
              </a:r>
            </a:p>
          </p:txBody>
        </p:sp>
      </p:grpSp>
      <p:sp>
        <p:nvSpPr>
          <p:cNvPr id="2" name="Title 1"/>
          <p:cNvSpPr>
            <a:spLocks noGrp="1"/>
          </p:cNvSpPr>
          <p:nvPr>
            <p:ph type="title"/>
          </p:nvPr>
        </p:nvSpPr>
        <p:spPr>
          <a:xfrm>
            <a:off x="473075" y="264964"/>
            <a:ext cx="7304088" cy="304800"/>
          </a:xfrm>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5" name="pg num"/>
          <p:cNvSpPr>
            <a:spLocks noGrp="1"/>
          </p:cNvSpPr>
          <p:nvPr>
            <p:ph type="sldNum" sz="quarter" idx="10"/>
          </p:nvPr>
        </p:nvSpPr>
        <p:spPr>
          <a:xfrm>
            <a:off x="8682038" y="4929188"/>
            <a:ext cx="339725" cy="152400"/>
          </a:xfrm>
          <a:prstGeom prst="rect">
            <a:avLst/>
          </a:prstGeom>
        </p:spPr>
        <p:txBody>
          <a:bodyPr/>
          <a:lstStyle>
            <a:lvl1pPr>
              <a:defRPr/>
            </a:lvl1pPr>
          </a:lstStyle>
          <a:p>
            <a:pPr>
              <a:defRPr/>
            </a:pPr>
            <a:fld id="{5FC392B7-B5D4-48CD-BD44-9052FF3BAD5A}" type="slidenum">
              <a:rPr lang="en-US" altLang="zh-CN">
                <a:solidFill>
                  <a:srgbClr val="FFFFFF"/>
                </a:solidFill>
                <a:latin typeface="Arial" charset="0"/>
              </a:rPr>
              <a:pPr>
                <a:defRPr/>
              </a:pPr>
              <a:t>‹#›</a:t>
            </a:fld>
            <a:endParaRPr lang="en-US" altLang="zh-CN">
              <a:solidFill>
                <a:srgbClr val="FFFFFF"/>
              </a:solidFill>
              <a:latin typeface="Arial" charset="0"/>
            </a:endParaRPr>
          </a:p>
        </p:txBody>
      </p:sp>
      <p:pic>
        <p:nvPicPr>
          <p:cNvPr id="9" name="图片 8"/>
          <p:cNvPicPr/>
          <p:nvPr userDrawn="1"/>
        </p:nvPicPr>
        <p:blipFill>
          <a:blip r:embed="rId2"/>
          <a:stretch>
            <a:fillRect/>
          </a:stretch>
        </p:blipFill>
        <p:spPr>
          <a:xfrm>
            <a:off x="7834943" y="23123"/>
            <a:ext cx="1227138" cy="548684"/>
          </a:xfrm>
          <a:prstGeom prst="rect">
            <a:avLst/>
          </a:prstGeom>
          <a:noFill/>
          <a:ln w="9525">
            <a:noFill/>
          </a:ln>
        </p:spPr>
      </p:pic>
    </p:spTree>
    <p:extLst>
      <p:ext uri="{BB962C8B-B14F-4D97-AF65-F5344CB8AC3E}">
        <p14:creationId xmlns:p14="http://schemas.microsoft.com/office/powerpoint/2010/main" val="283623808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theme" Target="../theme/theme1.xml"/><Relationship Id="rId5" Type="http://schemas.openxmlformats.org/officeDocument/2006/relationships/tags" Target="../tags/tag2.xml"/><Relationship Id="rId6" Type="http://schemas.openxmlformats.org/officeDocument/2006/relationships/tags" Target="../tags/tag3.xml"/><Relationship Id="rId7" Type="http://schemas.openxmlformats.org/officeDocument/2006/relationships/tags" Target="../tags/tag4.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9" Type="http://schemas.openxmlformats.org/officeDocument/2006/relationships/tags" Target="../tags/tag35.xml"/><Relationship Id="rId20" Type="http://schemas.openxmlformats.org/officeDocument/2006/relationships/tags" Target="../tags/tag46.xml"/><Relationship Id="rId21" Type="http://schemas.openxmlformats.org/officeDocument/2006/relationships/tags" Target="../tags/tag47.xml"/><Relationship Id="rId22" Type="http://schemas.openxmlformats.org/officeDocument/2006/relationships/oleObject" Target="../embeddings/oleObject3.bin"/><Relationship Id="rId23" Type="http://schemas.openxmlformats.org/officeDocument/2006/relationships/image" Target="../media/image3.emf"/><Relationship Id="rId24" Type="http://schemas.openxmlformats.org/officeDocument/2006/relationships/image" Target="../media/image2.png"/><Relationship Id="rId10" Type="http://schemas.openxmlformats.org/officeDocument/2006/relationships/tags" Target="../tags/tag36.xml"/><Relationship Id="rId11" Type="http://schemas.openxmlformats.org/officeDocument/2006/relationships/tags" Target="../tags/tag37.xml"/><Relationship Id="rId12" Type="http://schemas.openxmlformats.org/officeDocument/2006/relationships/tags" Target="../tags/tag38.xml"/><Relationship Id="rId13" Type="http://schemas.openxmlformats.org/officeDocument/2006/relationships/tags" Target="../tags/tag39.xml"/><Relationship Id="rId14" Type="http://schemas.openxmlformats.org/officeDocument/2006/relationships/tags" Target="../tags/tag40.xml"/><Relationship Id="rId15" Type="http://schemas.openxmlformats.org/officeDocument/2006/relationships/tags" Target="../tags/tag41.xml"/><Relationship Id="rId16" Type="http://schemas.openxmlformats.org/officeDocument/2006/relationships/tags" Target="../tags/tag42.xml"/><Relationship Id="rId17" Type="http://schemas.openxmlformats.org/officeDocument/2006/relationships/tags" Target="../tags/tag43.xml"/><Relationship Id="rId18" Type="http://schemas.openxmlformats.org/officeDocument/2006/relationships/tags" Target="../tags/tag44.xml"/><Relationship Id="rId19" Type="http://schemas.openxmlformats.org/officeDocument/2006/relationships/tags" Target="../tags/tag45.xml"/><Relationship Id="rId1" Type="http://schemas.openxmlformats.org/officeDocument/2006/relationships/slideLayout" Target="../slideLayouts/slideLayout4.xml"/><Relationship Id="rId2" Type="http://schemas.openxmlformats.org/officeDocument/2006/relationships/slideLayout" Target="../slideLayouts/slideLayout5.xml"/><Relationship Id="rId3" Type="http://schemas.openxmlformats.org/officeDocument/2006/relationships/slideLayout" Target="../slideLayouts/slideLayout6.xml"/><Relationship Id="rId4" Type="http://schemas.openxmlformats.org/officeDocument/2006/relationships/theme" Target="../theme/theme2.xml"/><Relationship Id="rId5" Type="http://schemas.openxmlformats.org/officeDocument/2006/relationships/vmlDrawing" Target="../drawings/vmlDrawing3.vml"/><Relationship Id="rId6" Type="http://schemas.openxmlformats.org/officeDocument/2006/relationships/tags" Target="../tags/tag32.xml"/><Relationship Id="rId7" Type="http://schemas.openxmlformats.org/officeDocument/2006/relationships/tags" Target="../tags/tag33.xml"/><Relationship Id="rId8"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194" name="McK 2. Slide Title"/>
          <p:cNvSpPr>
            <a:spLocks noGrp="1"/>
          </p:cNvSpPr>
          <p:nvPr>
            <p:ph type="title"/>
            <p:custDataLst>
              <p:tags r:id="rId5"/>
            </p:custDataLst>
          </p:nvPr>
        </p:nvSpPr>
        <p:spPr bwMode="gray">
          <a:xfrm>
            <a:off x="473075" y="296863"/>
            <a:ext cx="7304088" cy="304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zh-TW" dirty="0" smtClean="0"/>
              <a:t>Click to edit Master title style</a:t>
            </a:r>
            <a:endParaRPr lang="en-US" dirty="0" smtClean="0"/>
          </a:p>
        </p:txBody>
      </p:sp>
      <p:sp>
        <p:nvSpPr>
          <p:cNvPr id="8195" name="Text Placeholder 2"/>
          <p:cNvSpPr>
            <a:spLocks noGrp="1"/>
          </p:cNvSpPr>
          <p:nvPr>
            <p:ph type="body" idx="1"/>
            <p:custDataLst>
              <p:tags r:id="rId6"/>
            </p:custDataLst>
          </p:nvPr>
        </p:nvSpPr>
        <p:spPr bwMode="gray">
          <a:xfrm>
            <a:off x="935038" y="1970088"/>
            <a:ext cx="4264025" cy="12223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a:p>
            <a:pPr lvl="4"/>
            <a:r>
              <a:rPr lang="en-US" altLang="zh-TW" smtClean="0"/>
              <a:t>Fifth level</a:t>
            </a:r>
            <a:endParaRPr lang="en-US" smtClean="0"/>
          </a:p>
        </p:txBody>
      </p:sp>
      <p:sp>
        <p:nvSpPr>
          <p:cNvPr id="10" name="pg num"/>
          <p:cNvSpPr>
            <a:spLocks noGrp="1"/>
          </p:cNvSpPr>
          <p:nvPr>
            <p:ph type="sldNum" sz="quarter" idx="4"/>
            <p:custDataLst>
              <p:tags r:id="rId7"/>
            </p:custDataLst>
          </p:nvPr>
        </p:nvSpPr>
        <p:spPr bwMode="gray">
          <a:xfrm>
            <a:off x="8682038" y="4929188"/>
            <a:ext cx="339725" cy="15240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l">
              <a:defRPr sz="1000" b="0">
                <a:solidFill>
                  <a:schemeClr val="tx1"/>
                </a:solidFill>
                <a:latin typeface="Arial" pitchFamily="34" charset="0"/>
                <a:cs typeface="+mn-cs"/>
              </a:defRPr>
            </a:lvl1pPr>
          </a:lstStyle>
          <a:p>
            <a:pPr>
              <a:defRPr/>
            </a:pPr>
            <a:fld id="{8CEB61D3-D97A-49A6-AA67-C1EC68C6A10F}"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46" r:id="rId1"/>
    <p:sldLayoutId id="2147483947" r:id="rId2"/>
    <p:sldLayoutId id="2147483952" r:id="rId3"/>
  </p:sldLayoutIdLst>
  <p:hf hdr="0" ftr="0" dt="0"/>
  <p:txStyles>
    <p:titleStyle>
      <a:lvl1pPr algn="l" defTabSz="457200" rtl="0" eaLnBrk="1" fontAlgn="base" hangingPunct="1">
        <a:lnSpc>
          <a:spcPts val="2400"/>
        </a:lnSpc>
        <a:spcBef>
          <a:spcPct val="0"/>
        </a:spcBef>
        <a:spcAft>
          <a:spcPct val="0"/>
        </a:spcAft>
        <a:defRPr sz="2200" b="1" kern="1200">
          <a:solidFill>
            <a:schemeClr val="accent6"/>
          </a:solidFill>
          <a:latin typeface="+mj-lt"/>
          <a:ea typeface="MS PGothic" pitchFamily="34" charset="-128"/>
          <a:cs typeface="+mj-cs"/>
        </a:defRPr>
      </a:lvl1pPr>
      <a:lvl2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2pPr>
      <a:lvl3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3pPr>
      <a:lvl4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4pPr>
      <a:lvl5pPr algn="l" defTabSz="457200" rtl="0" eaLnBrk="1" fontAlgn="base" hangingPunct="1">
        <a:lnSpc>
          <a:spcPts val="2400"/>
        </a:lnSpc>
        <a:spcBef>
          <a:spcPct val="0"/>
        </a:spcBef>
        <a:spcAft>
          <a:spcPct val="0"/>
        </a:spcAft>
        <a:defRPr sz="2200" b="1">
          <a:solidFill>
            <a:schemeClr val="tx2"/>
          </a:solidFill>
          <a:latin typeface="Arial" charset="-52"/>
          <a:ea typeface="MS PGothic" pitchFamily="34" charset="-128"/>
          <a:cs typeface="Arial" charset="0"/>
        </a:defRPr>
      </a:lvl5pPr>
      <a:lvl6pPr marL="457200" algn="l" defTabSz="457200" rtl="0" eaLnBrk="1" fontAlgn="base" hangingPunct="1">
        <a:spcBef>
          <a:spcPct val="0"/>
        </a:spcBef>
        <a:spcAft>
          <a:spcPct val="0"/>
        </a:spcAft>
        <a:defRPr sz="2600" b="1">
          <a:solidFill>
            <a:schemeClr val="tx2"/>
          </a:solidFill>
          <a:latin typeface="Arial" charset="-52"/>
          <a:ea typeface="ＭＳ Ｐゴシック" charset="-128"/>
        </a:defRPr>
      </a:lvl6pPr>
      <a:lvl7pPr marL="914400" algn="l" defTabSz="457200" rtl="0" eaLnBrk="1" fontAlgn="base" hangingPunct="1">
        <a:spcBef>
          <a:spcPct val="0"/>
        </a:spcBef>
        <a:spcAft>
          <a:spcPct val="0"/>
        </a:spcAft>
        <a:defRPr sz="2600" b="1">
          <a:solidFill>
            <a:schemeClr val="tx2"/>
          </a:solidFill>
          <a:latin typeface="Arial" charset="-52"/>
          <a:ea typeface="ＭＳ Ｐゴシック" charset="-128"/>
        </a:defRPr>
      </a:lvl7pPr>
      <a:lvl8pPr marL="1371600" algn="l" defTabSz="457200" rtl="0" eaLnBrk="1" fontAlgn="base" hangingPunct="1">
        <a:spcBef>
          <a:spcPct val="0"/>
        </a:spcBef>
        <a:spcAft>
          <a:spcPct val="0"/>
        </a:spcAft>
        <a:defRPr sz="2600" b="1">
          <a:solidFill>
            <a:schemeClr val="tx2"/>
          </a:solidFill>
          <a:latin typeface="Arial" charset="-52"/>
          <a:ea typeface="ＭＳ Ｐゴシック" charset="-128"/>
        </a:defRPr>
      </a:lvl8pPr>
      <a:lvl9pPr marL="1828800" algn="l" defTabSz="457200" rtl="0" eaLnBrk="1" fontAlgn="base" hangingPunct="1">
        <a:spcBef>
          <a:spcPct val="0"/>
        </a:spcBef>
        <a:spcAft>
          <a:spcPct val="0"/>
        </a:spcAft>
        <a:defRPr sz="2600" b="1">
          <a:solidFill>
            <a:schemeClr val="tx2"/>
          </a:solidFill>
          <a:latin typeface="Arial" charset="-52"/>
          <a:ea typeface="ＭＳ Ｐゴシック" charset="-128"/>
        </a:defRPr>
      </a:lvl9pPr>
    </p:titleStyle>
    <p:bodyStyle>
      <a:lvl1pPr marL="342900" indent="-342900" algn="l" defTabSz="895350" rtl="0" eaLnBrk="1" fontAlgn="base" hangingPunct="1">
        <a:spcBef>
          <a:spcPct val="0"/>
        </a:spcBef>
        <a:spcAft>
          <a:spcPct val="0"/>
        </a:spcAft>
        <a:buClr>
          <a:schemeClr val="tx2"/>
        </a:buClr>
        <a:buChar char="•"/>
        <a:defRPr sz="1600" kern="1200">
          <a:solidFill>
            <a:schemeClr val="tx1"/>
          </a:solidFill>
          <a:latin typeface="Verdana" pitchFamily="34" charset="0"/>
          <a:ea typeface="Verdana" pitchFamily="34" charset="0"/>
          <a:cs typeface="Verdana" pitchFamily="34" charset="0"/>
        </a:defRPr>
      </a:lvl1pPr>
      <a:lvl2pPr marL="193675" indent="-192088" algn="l" defTabSz="895350" rtl="0" eaLnBrk="1" fontAlgn="base" hangingPunct="1">
        <a:spcBef>
          <a:spcPct val="0"/>
        </a:spcBef>
        <a:spcAft>
          <a:spcPct val="0"/>
        </a:spcAft>
        <a:buClr>
          <a:schemeClr val="tx1"/>
        </a:buClr>
        <a:buSzPct val="125000"/>
        <a:buFont typeface="Arial" pitchFamily="34" charset="0"/>
        <a:buChar char="▪"/>
        <a:defRPr sz="1600" kern="1200">
          <a:solidFill>
            <a:schemeClr val="tx1"/>
          </a:solidFill>
          <a:latin typeface="Verdana" pitchFamily="34" charset="0"/>
          <a:ea typeface="Verdana" pitchFamily="34" charset="0"/>
          <a:cs typeface="Verdana" pitchFamily="34" charset="0"/>
        </a:defRPr>
      </a:lvl2pPr>
      <a:lvl3pPr marL="457200" indent="-261938" algn="l" defTabSz="895350" rtl="0" eaLnBrk="1" fontAlgn="base" hangingPunct="1">
        <a:spcBef>
          <a:spcPct val="0"/>
        </a:spcBef>
        <a:spcAft>
          <a:spcPct val="0"/>
        </a:spcAft>
        <a:buClr>
          <a:schemeClr val="tx1"/>
        </a:buClr>
        <a:buSzPct val="120000"/>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614363" indent="-155575" algn="l" defTabSz="895350" rtl="0" eaLnBrk="1" fontAlgn="base" hangingPunct="1">
        <a:spcBef>
          <a:spcPct val="0"/>
        </a:spcBef>
        <a:spcAft>
          <a:spcPct val="0"/>
        </a:spcAft>
        <a:buClr>
          <a:schemeClr val="tx1"/>
        </a:buClr>
        <a:buSzPct val="120000"/>
        <a:buFont typeface="Arial" pitchFamily="34" charset="0"/>
        <a:buChar char="▫"/>
        <a:defRPr sz="1600" kern="1200">
          <a:solidFill>
            <a:schemeClr val="tx1"/>
          </a:solidFill>
          <a:latin typeface="Verdana" pitchFamily="34" charset="0"/>
          <a:ea typeface="Verdana" pitchFamily="34" charset="0"/>
          <a:cs typeface="Verdana" pitchFamily="34" charset="0"/>
        </a:defRPr>
      </a:lvl4pPr>
      <a:lvl5pPr marL="746125" indent="-130175" algn="l" defTabSz="895350" rtl="0" eaLnBrk="1" fontAlgn="base" hangingPunct="1">
        <a:spcBef>
          <a:spcPct val="0"/>
        </a:spcBef>
        <a:spcAft>
          <a:spcPct val="0"/>
        </a:spcAft>
        <a:buClr>
          <a:schemeClr val="tx1"/>
        </a:buClr>
        <a:buFont typeface="Arial" pitchFamily="34" charset="0"/>
        <a:buChar char="-"/>
        <a:tabLst>
          <a:tab pos="2065338" algn="l"/>
        </a:tabLst>
        <a:defRPr sz="1600" kern="1200">
          <a:solidFill>
            <a:schemeClr val="tx1"/>
          </a:solidFill>
          <a:latin typeface="Verdana" pitchFamily="34" charset="0"/>
          <a:ea typeface="Verdana" pitchFamily="34" charset="0"/>
          <a:cs typeface="Verdana"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383770276"/>
              </p:ext>
            </p:extLst>
          </p:nvPr>
        </p:nvGraphicFramePr>
        <p:xfrm>
          <a:off x="0" y="1"/>
          <a:ext cx="161984" cy="121481"/>
        </p:xfrm>
        <a:graphic>
          <a:graphicData uri="http://schemas.openxmlformats.org/presentationml/2006/ole">
            <mc:AlternateContent xmlns:mc="http://schemas.openxmlformats.org/markup-compatibility/2006">
              <mc:Choice xmlns:v="urn:schemas-microsoft-com:vml" Requires="v">
                <p:oleObj spid="_x0000_s33993" name="think-cell Slide" r:id="rId22" imgW="360" imgH="360" progId="TCLayout.ActiveDocument.1">
                  <p:embed/>
                </p:oleObj>
              </mc:Choice>
              <mc:Fallback>
                <p:oleObj name="think-cell Slide" r:id="rId22" imgW="360" imgH="360" progId="TCLayout.ActiveDocument.1">
                  <p:embed/>
                  <p:pic>
                    <p:nvPicPr>
                      <p:cNvPr id="0" name=""/>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1"/>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7164536"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9"/>
            <a:endParaRPr lang="en-US" sz="800" b="0" dirty="0">
              <a:solidFill>
                <a:srgbClr val="000000"/>
              </a:solidFill>
              <a:latin typeface="Century Gothic"/>
              <a:ea typeface="ＭＳ Ｐゴシック"/>
            </a:endParaRPr>
          </a:p>
        </p:txBody>
      </p:sp>
      <p:sp>
        <p:nvSpPr>
          <p:cNvPr id="1034" name="Working Draft" hidden="1"/>
          <p:cNvSpPr txBox="1">
            <a:spLocks noChangeArrowheads="1"/>
          </p:cNvSpPr>
          <p:nvPr/>
        </p:nvSpPr>
        <p:spPr bwMode="auto">
          <a:xfrm rot="5400000">
            <a:off x="8095770" y="1474170"/>
            <a:ext cx="195406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GB" sz="600" b="0" smtClean="0">
                <a:solidFill>
                  <a:srgbClr val="000000"/>
                </a:solidFill>
                <a:latin typeface="Century Gothic"/>
                <a:ea typeface="ＭＳ Ｐゴシック"/>
              </a:rPr>
              <a:t>Last Modified 6/3/2014 2:44 PM China Standard Time</a:t>
            </a:r>
            <a:endParaRPr lang="en-US" b="0" dirty="0" smtClean="0">
              <a:solidFill>
                <a:srgbClr val="000000"/>
              </a:solidFill>
              <a:latin typeface="Century Gothic"/>
              <a:ea typeface="ＭＳ Ｐゴシック"/>
            </a:endParaRPr>
          </a:p>
        </p:txBody>
      </p:sp>
      <p:sp>
        <p:nvSpPr>
          <p:cNvPr id="1035" name="Printed" hidden="1"/>
          <p:cNvSpPr txBox="1">
            <a:spLocks noChangeArrowheads="1"/>
          </p:cNvSpPr>
          <p:nvPr/>
        </p:nvSpPr>
        <p:spPr bwMode="auto">
          <a:xfrm rot="5400000">
            <a:off x="8231177" y="3137659"/>
            <a:ext cx="168315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defTabSz="914400" eaLnBrk="1" hangingPunct="1">
              <a:defRPr/>
            </a:pPr>
            <a:r>
              <a:rPr lang="en-US" sz="600" b="0" smtClean="0">
                <a:solidFill>
                  <a:srgbClr val="000000"/>
                </a:solidFill>
                <a:latin typeface="Century Gothic"/>
                <a:ea typeface="ＭＳ Ｐゴシック"/>
              </a:rPr>
              <a:t>Printed 29.05.2014 15:09 China Standard Time</a:t>
            </a:r>
            <a:endParaRPr lang="en-US" b="0" dirty="0" smtClean="0">
              <a:solidFill>
                <a:srgbClr val="000000"/>
              </a:solidFill>
              <a:latin typeface="Century Gothic"/>
              <a:ea typeface="ＭＳ Ｐゴシック"/>
            </a:endParaRPr>
          </a:p>
        </p:txBody>
      </p:sp>
      <p:sp>
        <p:nvSpPr>
          <p:cNvPr id="1036" name="Rectangle 286"/>
          <p:cNvSpPr>
            <a:spLocks noGrp="1" noChangeArrowheads="1"/>
          </p:cNvSpPr>
          <p:nvPr>
            <p:ph type="body" idx="1"/>
          </p:nvPr>
        </p:nvSpPr>
        <p:spPr bwMode="auto">
          <a:xfrm>
            <a:off x="2377117" y="1966190"/>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21490" y="169099"/>
            <a:ext cx="771366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itle style</a:t>
            </a:r>
          </a:p>
        </p:txBody>
      </p:sp>
      <p:sp>
        <p:nvSpPr>
          <p:cNvPr id="10" name="McK 1. On-page tracker" hidden="1"/>
          <p:cNvSpPr>
            <a:spLocks noChangeArrowheads="1"/>
          </p:cNvSpPr>
          <p:nvPr/>
        </p:nvSpPr>
        <p:spPr bwMode="auto">
          <a:xfrm>
            <a:off x="121517" y="7204"/>
            <a:ext cx="6636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914400"/>
            <a:r>
              <a:rPr lang="en-US" sz="1200" b="0" dirty="0">
                <a:solidFill>
                  <a:srgbClr val="808080"/>
                </a:solidFill>
                <a:latin typeface="Century Gothic"/>
                <a:ea typeface="ＭＳ Ｐゴシック"/>
              </a:rPr>
              <a:t>TRACKER</a:t>
            </a:r>
          </a:p>
        </p:txBody>
      </p:sp>
      <p:sp>
        <p:nvSpPr>
          <p:cNvPr id="11" name="McK 3. Unit of measure" hidden="1"/>
          <p:cNvSpPr txBox="1">
            <a:spLocks noChangeArrowheads="1"/>
          </p:cNvSpPr>
          <p:nvPr/>
        </p:nvSpPr>
        <p:spPr bwMode="auto">
          <a:xfrm>
            <a:off x="121489" y="515664"/>
            <a:ext cx="462980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l">
              <a:defRPr/>
            </a:pPr>
            <a:r>
              <a:rPr lang="en-US" sz="1600" b="0" dirty="0" smtClean="0">
                <a:solidFill>
                  <a:srgbClr val="808080"/>
                </a:solidFill>
                <a:latin typeface="Century Gothic"/>
                <a:ea typeface="ＭＳ Ｐゴシック"/>
              </a:rPr>
              <a:t>Unit of measure</a:t>
            </a:r>
          </a:p>
        </p:txBody>
      </p:sp>
      <p:grpSp>
        <p:nvGrpSpPr>
          <p:cNvPr id="3" name="McK Slide Elements" hidden="1"/>
          <p:cNvGrpSpPr/>
          <p:nvPr/>
        </p:nvGrpSpPr>
        <p:grpSpPr bwMode="auto">
          <a:xfrm>
            <a:off x="121489" y="4744925"/>
            <a:ext cx="8722842" cy="296111"/>
            <a:chOff x="121489" y="6326324"/>
            <a:chExt cx="8722842" cy="394814"/>
          </a:xfrm>
        </p:grpSpPr>
        <p:sp>
          <p:nvSpPr>
            <p:cNvPr id="13" name="McK 4. Footnote"/>
            <p:cNvSpPr txBox="1">
              <a:spLocks noChangeArrowheads="1"/>
            </p:cNvSpPr>
            <p:nvPr/>
          </p:nvSpPr>
          <p:spPr bwMode="auto">
            <a:xfrm>
              <a:off x="121491" y="6326324"/>
              <a:ext cx="8722840" cy="164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4134" indent="-84134" algn="l">
                <a:defRPr/>
              </a:pPr>
              <a:r>
                <a:rPr lang="en-US" sz="800" b="0" dirty="0" smtClean="0">
                  <a:solidFill>
                    <a:srgbClr val="000000"/>
                  </a:solidFill>
                  <a:latin typeface="Century Gothic"/>
                  <a:ea typeface="ＭＳ Ｐゴシック"/>
                </a:rPr>
                <a:t>1 Footnote	</a:t>
              </a:r>
            </a:p>
          </p:txBody>
        </p:sp>
        <p:sp>
          <p:nvSpPr>
            <p:cNvPr id="14" name="McK 5. Source"/>
            <p:cNvSpPr>
              <a:spLocks noChangeArrowheads="1"/>
            </p:cNvSpPr>
            <p:nvPr/>
          </p:nvSpPr>
          <p:spPr bwMode="auto">
            <a:xfrm>
              <a:off x="121489" y="6556990"/>
              <a:ext cx="8323585" cy="164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98443" indent="-398443" algn="l" defTabSz="913479">
                <a:tabLst>
                  <a:tab pos="403205" algn="l"/>
                </a:tabLst>
              </a:pPr>
              <a:r>
                <a:rPr lang="en-US" sz="800" b="0" dirty="0" smtClean="0">
                  <a:solidFill>
                    <a:srgbClr val="000000"/>
                  </a:solidFill>
                  <a:latin typeface="Century Gothic"/>
                  <a:ea typeface="ＭＳ Ｐゴシック"/>
                </a:rPr>
                <a:t>Source: McKinsey</a:t>
              </a:r>
              <a:endParaRPr lang="en-US" sz="800" b="0" dirty="0">
                <a:solidFill>
                  <a:srgbClr val="000000"/>
                </a:solidFill>
                <a:latin typeface="Century Gothic"/>
                <a:ea typeface="ＭＳ Ｐゴシック"/>
              </a:endParaRPr>
            </a:p>
          </p:txBody>
        </p:sp>
      </p:grpSp>
      <p:grpSp>
        <p:nvGrpSpPr>
          <p:cNvPr id="15" name="ACET" hidden="1"/>
          <p:cNvGrpSpPr>
            <a:grpSpLocks/>
          </p:cNvGrpSpPr>
          <p:nvPr/>
        </p:nvGrpSpPr>
        <p:grpSpPr bwMode="auto">
          <a:xfrm>
            <a:off x="2377117" y="1395788"/>
            <a:ext cx="4389768" cy="511434"/>
            <a:chOff x="915" y="609"/>
            <a:chExt cx="2686" cy="42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defTabSz="914400"/>
              <a:r>
                <a:rPr lang="en-US" sz="1600" dirty="0">
                  <a:solidFill>
                    <a:srgbClr val="000000"/>
                  </a:solidFill>
                  <a:latin typeface="Century Gothic"/>
                  <a:ea typeface="ＭＳ Ｐゴシック"/>
                </a:rPr>
                <a:t>Title</a:t>
              </a:r>
            </a:p>
            <a:p>
              <a:pPr algn="l" defTabSz="914400"/>
              <a:r>
                <a:rPr lang="en-US" sz="1600" b="0" dirty="0">
                  <a:solidFill>
                    <a:srgbClr val="808080"/>
                  </a:solidFill>
                  <a:latin typeface="Century Gothic"/>
                  <a:ea typeface="ＭＳ Ｐゴシック"/>
                </a:rPr>
                <a:t>Unit of measure</a:t>
              </a:r>
            </a:p>
          </p:txBody>
        </p:sp>
      </p:grpSp>
      <p:grpSp>
        <p:nvGrpSpPr>
          <p:cNvPr id="107" name="LegendBoxes" hidden="1"/>
          <p:cNvGrpSpPr>
            <a:grpSpLocks/>
          </p:cNvGrpSpPr>
          <p:nvPr/>
        </p:nvGrpSpPr>
        <p:grpSpPr bwMode="auto">
          <a:xfrm>
            <a:off x="7007855" y="212969"/>
            <a:ext cx="827088" cy="996951"/>
            <a:chOff x="4936" y="176"/>
            <a:chExt cx="521" cy="628"/>
          </a:xfrm>
        </p:grpSpPr>
        <p:sp>
          <p:nvSpPr>
            <p:cNvPr id="108" name="Legend1"/>
            <p:cNvSpPr>
              <a:spLocks noChangeArrowheads="1"/>
            </p:cNvSpPr>
            <p:nvPr/>
          </p:nvSpPr>
          <p:spPr bwMode="auto">
            <a:xfrm>
              <a:off x="5096" y="17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09"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0" name="Legend2"/>
            <p:cNvSpPr>
              <a:spLocks noChangeArrowheads="1"/>
            </p:cNvSpPr>
            <p:nvPr/>
          </p:nvSpPr>
          <p:spPr bwMode="auto">
            <a:xfrm>
              <a:off x="5096" y="34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2" name="Legend3"/>
            <p:cNvSpPr>
              <a:spLocks noChangeArrowheads="1"/>
            </p:cNvSpPr>
            <p:nvPr/>
          </p:nvSpPr>
          <p:spPr bwMode="auto">
            <a:xfrm>
              <a:off x="5096" y="517"/>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14" name="Legend4"/>
            <p:cNvSpPr>
              <a:spLocks noChangeArrowheads="1"/>
            </p:cNvSpPr>
            <p:nvPr/>
          </p:nvSpPr>
          <p:spPr bwMode="auto">
            <a:xfrm>
              <a:off x="5096" y="688"/>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1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16" name="LegendLines" hidden="1"/>
          <p:cNvGrpSpPr>
            <a:grpSpLocks/>
          </p:cNvGrpSpPr>
          <p:nvPr/>
        </p:nvGrpSpPr>
        <p:grpSpPr bwMode="auto">
          <a:xfrm>
            <a:off x="6700160" y="213031"/>
            <a:ext cx="1136638" cy="730253"/>
            <a:chOff x="4750" y="176"/>
            <a:chExt cx="716" cy="460"/>
          </a:xfrm>
        </p:grpSpPr>
        <p:sp>
          <p:nvSpPr>
            <p:cNvPr id="11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1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1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914400"/>
              <a:endParaRPr lang="en-US" sz="1600" b="0">
                <a:solidFill>
                  <a:srgbClr val="000000"/>
                </a:solidFill>
                <a:latin typeface="Century Gothic"/>
                <a:ea typeface="ＭＳ Ｐゴシック"/>
              </a:endParaRPr>
            </a:p>
          </p:txBody>
        </p:sp>
        <p:sp>
          <p:nvSpPr>
            <p:cNvPr id="120" name="Legend1"/>
            <p:cNvSpPr>
              <a:spLocks noChangeArrowheads="1"/>
            </p:cNvSpPr>
            <p:nvPr/>
          </p:nvSpPr>
          <p:spPr bwMode="auto">
            <a:xfrm>
              <a:off x="5104" y="176"/>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21" name="Legend2"/>
            <p:cNvSpPr>
              <a:spLocks noChangeArrowheads="1"/>
            </p:cNvSpPr>
            <p:nvPr/>
          </p:nvSpPr>
          <p:spPr bwMode="auto">
            <a:xfrm>
              <a:off x="5104" y="344"/>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22" name="Legend3"/>
            <p:cNvSpPr>
              <a:spLocks noChangeArrowheads="1"/>
            </p:cNvSpPr>
            <p:nvPr/>
          </p:nvSpPr>
          <p:spPr bwMode="auto">
            <a:xfrm>
              <a:off x="5104" y="520"/>
              <a:ext cx="362"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grpSp>
      <p:grpSp>
        <p:nvGrpSpPr>
          <p:cNvPr id="123" name="McKSticker" hidden="1"/>
          <p:cNvGrpSpPr/>
          <p:nvPr/>
        </p:nvGrpSpPr>
        <p:grpSpPr bwMode="auto">
          <a:xfrm>
            <a:off x="6847440" y="212911"/>
            <a:ext cx="987898" cy="212366"/>
            <a:chOff x="7752852" y="285750"/>
            <a:chExt cx="987923" cy="212365"/>
          </a:xfrm>
        </p:grpSpPr>
        <p:sp>
          <p:nvSpPr>
            <p:cNvPr id="124" name="StickerRectangle"/>
            <p:cNvSpPr>
              <a:spLocks noChangeArrowheads="1"/>
            </p:cNvSpPr>
            <p:nvPr/>
          </p:nvSpPr>
          <p:spPr bwMode="auto">
            <a:xfrm>
              <a:off x="7752852" y="285750"/>
              <a:ext cx="987923" cy="21236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04">
                <a:buClr>
                  <a:srgbClr val="7D0A3C"/>
                </a:buClr>
              </a:pPr>
              <a:r>
                <a:rPr lang="en-US" sz="1200" b="0" dirty="0">
                  <a:solidFill>
                    <a:srgbClr val="808080"/>
                  </a:solidFill>
                  <a:latin typeface="Century Gothic"/>
                  <a:ea typeface="ＭＳ Ｐゴシック"/>
                </a:rPr>
                <a:t>PRELIMINARY</a:t>
              </a:r>
            </a:p>
          </p:txBody>
        </p:sp>
        <p:cxnSp>
          <p:nvCxnSpPr>
            <p:cNvPr id="125" name="AutoShape 31"/>
            <p:cNvCxnSpPr>
              <a:cxnSpLocks noChangeShapeType="1"/>
              <a:stCxn id="124" idx="2"/>
              <a:endCxn id="124" idx="4"/>
            </p:cNvCxnSpPr>
            <p:nvPr/>
          </p:nvCxnSpPr>
          <p:spPr bwMode="auto">
            <a:xfrm>
              <a:off x="7752852" y="285750"/>
              <a:ext cx="0" cy="21236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4"/>
              <a:endCxn id="124" idx="6"/>
            </p:cNvCxnSpPr>
            <p:nvPr/>
          </p:nvCxnSpPr>
          <p:spPr bwMode="auto">
            <a:xfrm>
              <a:off x="7752852" y="498115"/>
              <a:ext cx="98792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7" name="LegendMoons" hidden="1"/>
          <p:cNvGrpSpPr/>
          <p:nvPr/>
        </p:nvGrpSpPr>
        <p:grpSpPr bwMode="auto">
          <a:xfrm>
            <a:off x="6940774" y="212964"/>
            <a:ext cx="894550" cy="1306516"/>
            <a:chOff x="6655594" y="273840"/>
            <a:chExt cx="894550" cy="1306516"/>
          </a:xfrm>
        </p:grpSpPr>
        <p:grpSp>
          <p:nvGrpSpPr>
            <p:cNvPr id="128" name="MoonLegend1"/>
            <p:cNvGrpSpPr>
              <a:grpSpLocks noChangeAspect="1"/>
            </p:cNvGrpSpPr>
            <p:nvPr>
              <p:custDataLst>
                <p:tags r:id="rId7"/>
              </p:custDataLst>
            </p:nvPr>
          </p:nvGrpSpPr>
          <p:grpSpPr bwMode="auto">
            <a:xfrm>
              <a:off x="6655594" y="273840"/>
              <a:ext cx="209550" cy="209551"/>
              <a:chOff x="4533" y="183"/>
              <a:chExt cx="144" cy="144"/>
            </a:xfrm>
          </p:grpSpPr>
          <p:sp>
            <p:nvSpPr>
              <p:cNvPr id="146"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7"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29" name="MoonLegend2"/>
            <p:cNvGrpSpPr>
              <a:grpSpLocks noChangeAspect="1"/>
            </p:cNvGrpSpPr>
            <p:nvPr>
              <p:custDataLst>
                <p:tags r:id="rId8"/>
              </p:custDataLst>
            </p:nvPr>
          </p:nvGrpSpPr>
          <p:grpSpPr bwMode="auto">
            <a:xfrm>
              <a:off x="6655594" y="548081"/>
              <a:ext cx="209550" cy="209551"/>
              <a:chOff x="1694" y="2044"/>
              <a:chExt cx="160" cy="160"/>
            </a:xfrm>
          </p:grpSpPr>
          <p:sp>
            <p:nvSpPr>
              <p:cNvPr id="14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5"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30" name="MoonLegend4"/>
            <p:cNvGrpSpPr>
              <a:grpSpLocks noChangeAspect="1"/>
            </p:cNvGrpSpPr>
            <p:nvPr>
              <p:custDataLst>
                <p:tags r:id="rId9"/>
              </p:custDataLst>
            </p:nvPr>
          </p:nvGrpSpPr>
          <p:grpSpPr bwMode="auto">
            <a:xfrm>
              <a:off x="6655594" y="1096563"/>
              <a:ext cx="209550" cy="209551"/>
              <a:chOff x="4495" y="1198"/>
              <a:chExt cx="160" cy="160"/>
            </a:xfrm>
          </p:grpSpPr>
          <p:sp>
            <p:nvSpPr>
              <p:cNvPr id="14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3"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nvGrpSpPr>
            <p:cNvPr id="131" name="MoonLegend5"/>
            <p:cNvGrpSpPr>
              <a:grpSpLocks noChangeAspect="1"/>
            </p:cNvGrpSpPr>
            <p:nvPr>
              <p:custDataLst>
                <p:tags r:id="rId10"/>
              </p:custDataLst>
            </p:nvPr>
          </p:nvGrpSpPr>
          <p:grpSpPr bwMode="auto">
            <a:xfrm>
              <a:off x="6655594" y="1370805"/>
              <a:ext cx="209550" cy="209551"/>
              <a:chOff x="4495" y="1440"/>
              <a:chExt cx="160" cy="160"/>
            </a:xfrm>
          </p:grpSpPr>
          <p:sp>
            <p:nvSpPr>
              <p:cNvPr id="140"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41"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sp>
          <p:nvSpPr>
            <p:cNvPr id="132" name="Legend1"/>
            <p:cNvSpPr>
              <a:spLocks noChangeArrowheads="1"/>
            </p:cNvSpPr>
            <p:nvPr/>
          </p:nvSpPr>
          <p:spPr bwMode="auto">
            <a:xfrm>
              <a:off x="6976269" y="286540"/>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3" name="Legend2"/>
            <p:cNvSpPr>
              <a:spLocks noChangeArrowheads="1"/>
            </p:cNvSpPr>
            <p:nvPr/>
          </p:nvSpPr>
          <p:spPr bwMode="auto">
            <a:xfrm>
              <a:off x="6976269" y="561178"/>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4" name="Legend3"/>
            <p:cNvSpPr>
              <a:spLocks noChangeArrowheads="1"/>
            </p:cNvSpPr>
            <p:nvPr/>
          </p:nvSpPr>
          <p:spPr bwMode="auto">
            <a:xfrm>
              <a:off x="6976269" y="835817"/>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sp>
          <p:nvSpPr>
            <p:cNvPr id="135" name="Legend4"/>
            <p:cNvSpPr>
              <a:spLocks noChangeArrowheads="1"/>
            </p:cNvSpPr>
            <p:nvPr/>
          </p:nvSpPr>
          <p:spPr bwMode="auto">
            <a:xfrm>
              <a:off x="6976269" y="1107280"/>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a:solidFill>
                    <a:srgbClr val="000000"/>
                  </a:solidFill>
                  <a:latin typeface="Century Gothic"/>
                  <a:ea typeface="ＭＳ Ｐゴシック"/>
                </a:rPr>
                <a:t>Legend</a:t>
              </a:r>
            </a:p>
          </p:txBody>
        </p:sp>
        <p:sp>
          <p:nvSpPr>
            <p:cNvPr id="136" name="Legend5"/>
            <p:cNvSpPr>
              <a:spLocks noChangeArrowheads="1"/>
            </p:cNvSpPr>
            <p:nvPr/>
          </p:nvSpPr>
          <p:spPr bwMode="auto">
            <a:xfrm>
              <a:off x="6976269" y="1383505"/>
              <a:ext cx="5738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895304">
                <a:buClr>
                  <a:srgbClr val="7D0A3C"/>
                </a:buClr>
              </a:pPr>
              <a:r>
                <a:rPr lang="en-US" sz="1200" b="0" dirty="0">
                  <a:solidFill>
                    <a:srgbClr val="000000"/>
                  </a:solidFill>
                  <a:latin typeface="Century Gothic"/>
                  <a:ea typeface="ＭＳ Ｐゴシック"/>
                </a:rPr>
                <a:t>Legend</a:t>
              </a:r>
            </a:p>
          </p:txBody>
        </p:sp>
        <p:grpSp>
          <p:nvGrpSpPr>
            <p:cNvPr id="137" name="MoonLegend3"/>
            <p:cNvGrpSpPr>
              <a:grpSpLocks noChangeAspect="1"/>
            </p:cNvGrpSpPr>
            <p:nvPr>
              <p:custDataLst>
                <p:tags r:id="rId11"/>
              </p:custDataLst>
            </p:nvPr>
          </p:nvGrpSpPr>
          <p:grpSpPr bwMode="auto">
            <a:xfrm>
              <a:off x="6655594" y="822322"/>
              <a:ext cx="209550" cy="209551"/>
              <a:chOff x="4495" y="1198"/>
              <a:chExt cx="160" cy="160"/>
            </a:xfrm>
          </p:grpSpPr>
          <p:sp>
            <p:nvSpPr>
              <p:cNvPr id="138"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sp>
            <p:nvSpPr>
              <p:cNvPr id="139"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914400"/>
                <a:endParaRPr lang="en-US" sz="1600" b="0">
                  <a:solidFill>
                    <a:srgbClr val="000000"/>
                  </a:solidFill>
                  <a:latin typeface="Century Gothic"/>
                  <a:ea typeface="ＭＳ Ｐゴシック"/>
                </a:endParaRPr>
              </a:p>
            </p:txBody>
          </p:sp>
        </p:grpSp>
      </p:grpSp>
      <p:pic>
        <p:nvPicPr>
          <p:cNvPr id="58" name="图片 57"/>
          <p:cNvPicPr/>
          <p:nvPr userDrawn="1"/>
        </p:nvPicPr>
        <p:blipFill>
          <a:blip r:embed="rId24"/>
          <a:stretch>
            <a:fillRect/>
          </a:stretch>
        </p:blipFill>
        <p:spPr>
          <a:xfrm>
            <a:off x="7834943" y="23123"/>
            <a:ext cx="1227138" cy="548684"/>
          </a:xfrm>
          <a:prstGeom prst="rect">
            <a:avLst/>
          </a:prstGeom>
          <a:noFill/>
          <a:ln w="9525">
            <a:noFill/>
          </a:ln>
        </p:spPr>
      </p:pic>
    </p:spTree>
    <p:extLst>
      <p:ext uri="{BB962C8B-B14F-4D97-AF65-F5344CB8AC3E}">
        <p14:creationId xmlns:p14="http://schemas.microsoft.com/office/powerpoint/2010/main" val="200286167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Lst>
  <p:timing>
    <p:tnLst>
      <p:par>
        <p:cTn id="1" dur="indefinite" restart="never" nodeType="tmRoot"/>
      </p:par>
    </p:tnLst>
  </p:timing>
  <p:hf hdr="0" ftr="0" dt="0"/>
  <p:txStyles>
    <p:titleStyle>
      <a:lvl1pPr algn="l" defTabSz="913479" rtl="0" eaLnBrk="1" fontAlgn="base" hangingPunct="1">
        <a:spcBef>
          <a:spcPct val="0"/>
        </a:spcBef>
        <a:spcAft>
          <a:spcPct val="0"/>
        </a:spcAft>
        <a:tabLst>
          <a:tab pos="275339" algn="l"/>
        </a:tabLst>
        <a:defRPr sz="2200" b="1" baseline="0">
          <a:solidFill>
            <a:srgbClr val="00B050"/>
          </a:solidFill>
          <a:latin typeface="+mj-lt"/>
          <a:ea typeface="+mj-ea"/>
          <a:cs typeface="+mj-cs"/>
        </a:defRPr>
      </a:lvl1pPr>
      <a:lvl2pPr algn="l" defTabSz="913479" rtl="0" eaLnBrk="1" fontAlgn="base" hangingPunct="1">
        <a:spcBef>
          <a:spcPct val="0"/>
        </a:spcBef>
        <a:spcAft>
          <a:spcPct val="0"/>
        </a:spcAft>
        <a:defRPr sz="1900" b="1">
          <a:solidFill>
            <a:schemeClr val="tx2"/>
          </a:solidFill>
          <a:latin typeface="Arial" charset="0"/>
        </a:defRPr>
      </a:lvl2pPr>
      <a:lvl3pPr algn="l" defTabSz="913479" rtl="0" eaLnBrk="1" fontAlgn="base" hangingPunct="1">
        <a:spcBef>
          <a:spcPct val="0"/>
        </a:spcBef>
        <a:spcAft>
          <a:spcPct val="0"/>
        </a:spcAft>
        <a:defRPr sz="1900" b="1">
          <a:solidFill>
            <a:schemeClr val="tx2"/>
          </a:solidFill>
          <a:latin typeface="Arial" charset="0"/>
        </a:defRPr>
      </a:lvl3pPr>
      <a:lvl4pPr algn="l" defTabSz="913479" rtl="0" eaLnBrk="1" fontAlgn="base" hangingPunct="1">
        <a:spcBef>
          <a:spcPct val="0"/>
        </a:spcBef>
        <a:spcAft>
          <a:spcPct val="0"/>
        </a:spcAft>
        <a:defRPr sz="1900" b="1">
          <a:solidFill>
            <a:schemeClr val="tx2"/>
          </a:solidFill>
          <a:latin typeface="Arial" charset="0"/>
        </a:defRPr>
      </a:lvl4pPr>
      <a:lvl5pPr algn="l" defTabSz="913479" rtl="0" eaLnBrk="1" fontAlgn="base" hangingPunct="1">
        <a:spcBef>
          <a:spcPct val="0"/>
        </a:spcBef>
        <a:spcAft>
          <a:spcPct val="0"/>
        </a:spcAft>
        <a:defRPr sz="1900" b="1">
          <a:solidFill>
            <a:schemeClr val="tx2"/>
          </a:solidFill>
          <a:latin typeface="Arial" charset="0"/>
        </a:defRPr>
      </a:lvl5pPr>
      <a:lvl6pPr marL="466457" algn="l" defTabSz="913479" rtl="0" eaLnBrk="1" fontAlgn="base" hangingPunct="1">
        <a:spcBef>
          <a:spcPct val="0"/>
        </a:spcBef>
        <a:spcAft>
          <a:spcPct val="0"/>
        </a:spcAft>
        <a:defRPr sz="1900" b="1">
          <a:solidFill>
            <a:schemeClr val="tx2"/>
          </a:solidFill>
          <a:latin typeface="Arial" charset="0"/>
        </a:defRPr>
      </a:lvl6pPr>
      <a:lvl7pPr marL="932914" algn="l" defTabSz="913479" rtl="0" eaLnBrk="1" fontAlgn="base" hangingPunct="1">
        <a:spcBef>
          <a:spcPct val="0"/>
        </a:spcBef>
        <a:spcAft>
          <a:spcPct val="0"/>
        </a:spcAft>
        <a:defRPr sz="1900" b="1">
          <a:solidFill>
            <a:schemeClr val="tx2"/>
          </a:solidFill>
          <a:latin typeface="Arial" charset="0"/>
        </a:defRPr>
      </a:lvl7pPr>
      <a:lvl8pPr marL="1399371" algn="l" defTabSz="913479" rtl="0" eaLnBrk="1" fontAlgn="base" hangingPunct="1">
        <a:spcBef>
          <a:spcPct val="0"/>
        </a:spcBef>
        <a:spcAft>
          <a:spcPct val="0"/>
        </a:spcAft>
        <a:defRPr sz="1900" b="1">
          <a:solidFill>
            <a:schemeClr val="tx2"/>
          </a:solidFill>
          <a:latin typeface="Arial" charset="0"/>
        </a:defRPr>
      </a:lvl8pPr>
      <a:lvl9pPr marL="1865830" algn="l" defTabSz="913479" rtl="0" eaLnBrk="1" fontAlgn="base" hangingPunct="1">
        <a:spcBef>
          <a:spcPct val="0"/>
        </a:spcBef>
        <a:spcAft>
          <a:spcPct val="0"/>
        </a:spcAft>
        <a:defRPr sz="1900" b="1">
          <a:solidFill>
            <a:schemeClr val="tx2"/>
          </a:solidFill>
          <a:latin typeface="Arial" charset="0"/>
        </a:defRPr>
      </a:lvl9pPr>
    </p:titleStyle>
    <p:bodyStyle>
      <a:lvl1pPr marL="0" indent="0" algn="l" defTabSz="91347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97" indent="-195977" algn="l" defTabSz="91347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2415" indent="-253987" algn="l" defTabSz="9134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09569" indent="-173029" algn="l" defTabSz="9134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76248" indent="-153980"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90" indent="-132811" algn="l" defTabSz="9134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14" rtl="0" eaLnBrk="1" latinLnBrk="0" hangingPunct="1">
        <a:defRPr sz="1800" kern="1200">
          <a:solidFill>
            <a:schemeClr val="tx1"/>
          </a:solidFill>
          <a:latin typeface="+mn-lt"/>
          <a:ea typeface="+mn-ea"/>
          <a:cs typeface="+mn-cs"/>
        </a:defRPr>
      </a:lvl1pPr>
      <a:lvl2pPr marL="466457" algn="l" defTabSz="932914" rtl="0" eaLnBrk="1" latinLnBrk="0" hangingPunct="1">
        <a:defRPr sz="1800" kern="1200">
          <a:solidFill>
            <a:schemeClr val="tx1"/>
          </a:solidFill>
          <a:latin typeface="+mn-lt"/>
          <a:ea typeface="+mn-ea"/>
          <a:cs typeface="+mn-cs"/>
        </a:defRPr>
      </a:lvl2pPr>
      <a:lvl3pPr marL="932914" algn="l" defTabSz="932914" rtl="0" eaLnBrk="1" latinLnBrk="0" hangingPunct="1">
        <a:defRPr sz="1800" kern="1200">
          <a:solidFill>
            <a:schemeClr val="tx1"/>
          </a:solidFill>
          <a:latin typeface="+mn-lt"/>
          <a:ea typeface="+mn-ea"/>
          <a:cs typeface="+mn-cs"/>
        </a:defRPr>
      </a:lvl3pPr>
      <a:lvl4pPr marL="1399371" algn="l" defTabSz="932914" rtl="0" eaLnBrk="1" latinLnBrk="0" hangingPunct="1">
        <a:defRPr sz="1800" kern="1200">
          <a:solidFill>
            <a:schemeClr val="tx1"/>
          </a:solidFill>
          <a:latin typeface="+mn-lt"/>
          <a:ea typeface="+mn-ea"/>
          <a:cs typeface="+mn-cs"/>
        </a:defRPr>
      </a:lvl4pPr>
      <a:lvl5pPr marL="1865830" algn="l" defTabSz="932914" rtl="0" eaLnBrk="1" latinLnBrk="0" hangingPunct="1">
        <a:defRPr sz="1800" kern="1200">
          <a:solidFill>
            <a:schemeClr val="tx1"/>
          </a:solidFill>
          <a:latin typeface="+mn-lt"/>
          <a:ea typeface="+mn-ea"/>
          <a:cs typeface="+mn-cs"/>
        </a:defRPr>
      </a:lvl5pPr>
      <a:lvl6pPr marL="2332286" algn="l" defTabSz="932914" rtl="0" eaLnBrk="1" latinLnBrk="0" hangingPunct="1">
        <a:defRPr sz="1800" kern="1200">
          <a:solidFill>
            <a:schemeClr val="tx1"/>
          </a:solidFill>
          <a:latin typeface="+mn-lt"/>
          <a:ea typeface="+mn-ea"/>
          <a:cs typeface="+mn-cs"/>
        </a:defRPr>
      </a:lvl6pPr>
      <a:lvl7pPr marL="2798743" algn="l" defTabSz="932914" rtl="0" eaLnBrk="1" latinLnBrk="0" hangingPunct="1">
        <a:defRPr sz="1800" kern="1200">
          <a:solidFill>
            <a:schemeClr val="tx1"/>
          </a:solidFill>
          <a:latin typeface="+mn-lt"/>
          <a:ea typeface="+mn-ea"/>
          <a:cs typeface="+mn-cs"/>
        </a:defRPr>
      </a:lvl7pPr>
      <a:lvl8pPr marL="3265200" algn="l" defTabSz="932914" rtl="0" eaLnBrk="1" latinLnBrk="0" hangingPunct="1">
        <a:defRPr sz="1800" kern="1200">
          <a:solidFill>
            <a:schemeClr val="tx1"/>
          </a:solidFill>
          <a:latin typeface="+mn-lt"/>
          <a:ea typeface="+mn-ea"/>
          <a:cs typeface="+mn-cs"/>
        </a:defRPr>
      </a:lvl8pPr>
      <a:lvl9pPr marL="3731658" algn="l" defTabSz="93291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1.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4.bin"/><Relationship Id="rId7"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50.xml"/></Relationships>
</file>

<file path=ppt/slides/_rels/slide10.xml.rels><?xml version="1.0" encoding="UTF-8" standalone="yes"?>
<Relationships xmlns="http://schemas.openxmlformats.org/package/2006/relationships"><Relationship Id="rId11" Type="http://schemas.openxmlformats.org/officeDocument/2006/relationships/image" Target="../media/image36.png"/><Relationship Id="rId12" Type="http://schemas.openxmlformats.org/officeDocument/2006/relationships/image" Target="../media/image37.png"/><Relationship Id="rId13" Type="http://schemas.openxmlformats.org/officeDocument/2006/relationships/image" Target="../media/image38.png"/><Relationship Id="rId14" Type="http://schemas.openxmlformats.org/officeDocument/2006/relationships/image" Target="../media/image39.png"/><Relationship Id="rId15" Type="http://schemas.openxmlformats.org/officeDocument/2006/relationships/image" Target="../media/image40.png"/><Relationship Id="rId16" Type="http://schemas.openxmlformats.org/officeDocument/2006/relationships/image" Target="../media/image41.png"/><Relationship Id="rId17" Type="http://schemas.openxmlformats.org/officeDocument/2006/relationships/image" Target="../media/image42.png"/><Relationship Id="rId1" Type="http://schemas.openxmlformats.org/officeDocument/2006/relationships/slideLayout" Target="../slideLayouts/slideLayout3.xml"/><Relationship Id="rId2" Type="http://schemas.openxmlformats.org/officeDocument/2006/relationships/notesSlide" Target="../notesSlides/notesSlide6.xml"/><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 Id="rId10" Type="http://schemas.openxmlformats.org/officeDocument/2006/relationships/image" Target="../media/image3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9" Type="http://schemas.openxmlformats.org/officeDocument/2006/relationships/image" Target="../media/image10.png"/><Relationship Id="rId20" Type="http://schemas.openxmlformats.org/officeDocument/2006/relationships/image" Target="../media/image21.png"/><Relationship Id="rId21" Type="http://schemas.openxmlformats.org/officeDocument/2006/relationships/image" Target="../media/image22.png"/><Relationship Id="rId22" Type="http://schemas.openxmlformats.org/officeDocument/2006/relationships/image" Target="../media/image23.png"/><Relationship Id="rId23" Type="http://schemas.openxmlformats.org/officeDocument/2006/relationships/image" Target="../media/image24.png"/><Relationship Id="rId24" Type="http://schemas.openxmlformats.org/officeDocument/2006/relationships/image" Target="../media/image25.png"/><Relationship Id="rId25" Type="http://schemas.openxmlformats.org/officeDocument/2006/relationships/image" Target="../media/image26.png"/><Relationship Id="rId10" Type="http://schemas.openxmlformats.org/officeDocument/2006/relationships/image" Target="../media/image11.png"/><Relationship Id="rId11" Type="http://schemas.openxmlformats.org/officeDocument/2006/relationships/image" Target="../media/image12.png"/><Relationship Id="rId12" Type="http://schemas.openxmlformats.org/officeDocument/2006/relationships/image" Target="../media/image13.png"/><Relationship Id="rId13" Type="http://schemas.openxmlformats.org/officeDocument/2006/relationships/image" Target="../media/image14.png"/><Relationship Id="rId14" Type="http://schemas.openxmlformats.org/officeDocument/2006/relationships/image" Target="../media/image15.png"/><Relationship Id="rId15" Type="http://schemas.openxmlformats.org/officeDocument/2006/relationships/image" Target="../media/image16.png"/><Relationship Id="rId16" Type="http://schemas.openxmlformats.org/officeDocument/2006/relationships/image" Target="../media/image17.png"/><Relationship Id="rId17" Type="http://schemas.openxmlformats.org/officeDocument/2006/relationships/image" Target="../media/image18.png"/><Relationship Id="rId18" Type="http://schemas.openxmlformats.org/officeDocument/2006/relationships/image" Target="../media/image19.png"/><Relationship Id="rId19"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1" Type="http://schemas.openxmlformats.org/officeDocument/2006/relationships/image" Target="../media/image26.png"/><Relationship Id="rId12" Type="http://schemas.openxmlformats.org/officeDocument/2006/relationships/image" Target="../media/image27.png"/><Relationship Id="rId1" Type="http://schemas.openxmlformats.org/officeDocument/2006/relationships/slideLayout" Target="../slideLayouts/slideLayout2.xml"/><Relationship Id="rId2" Type="http://schemas.openxmlformats.org/officeDocument/2006/relationships/image" Target="../media/image4.png"/><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11.png"/><Relationship Id="rId10"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8" hidden="1"/>
          <p:cNvGraphicFramePr>
            <a:graphicFrameLocks noChangeAspect="1"/>
          </p:cNvGraphicFramePr>
          <p:nvPr>
            <p:custDataLst>
              <p:tags r:id="rId2"/>
            </p:custDataLst>
            <p:extLst>
              <p:ext uri="{D42A27DB-BD31-4B8C-83A1-F6EECF244321}">
                <p14:modId xmlns:p14="http://schemas.microsoft.com/office/powerpoint/2010/main" val="5778262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02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Rectangle 6"/>
          <p:cNvSpPr>
            <a:spLocks noGrp="1"/>
          </p:cNvSpPr>
          <p:nvPr>
            <p:ph type="ctrTitle" idx="4294967295"/>
            <p:custDataLst>
              <p:tags r:id="rId3"/>
            </p:custDataLst>
          </p:nvPr>
        </p:nvSpPr>
        <p:spPr>
          <a:xfrm>
            <a:off x="334708" y="1444686"/>
            <a:ext cx="8363438" cy="400110"/>
          </a:xfrm>
        </p:spPr>
        <p:txBody>
          <a:bodyPr/>
          <a:lstStyle/>
          <a:p>
            <a:pPr>
              <a:lnSpc>
                <a:spcPct val="100000"/>
              </a:lnSpc>
            </a:pPr>
            <a:r>
              <a:rPr lang="zh-CN" altLang="en-US" sz="2600" dirty="0" smtClean="0">
                <a:latin typeface="微软雅黑" pitchFamily="34" charset="-122"/>
                <a:ea typeface="微软雅黑" pitchFamily="34" charset="-122"/>
                <a:cs typeface="Arial Unicode MS" pitchFamily="34" charset="-122"/>
              </a:rPr>
              <a:t>技术方案</a:t>
            </a:r>
            <a:endParaRPr lang="en-US" altLang="zh-CN" sz="1800" dirty="0" smtClean="0">
              <a:latin typeface="微软雅黑" pitchFamily="34" charset="-122"/>
              <a:ea typeface="微软雅黑" pitchFamily="34" charset="-122"/>
              <a:cs typeface="Arial Unicode MS" pitchFamily="34" charset="-122"/>
            </a:endParaRPr>
          </a:p>
        </p:txBody>
      </p:sp>
      <p:sp>
        <p:nvSpPr>
          <p:cNvPr id="2" name="文本框 1"/>
          <p:cNvSpPr txBox="1"/>
          <p:nvPr/>
        </p:nvSpPr>
        <p:spPr>
          <a:xfrm>
            <a:off x="334708" y="2641600"/>
            <a:ext cx="3994150" cy="738664"/>
          </a:xfrm>
          <a:prstGeom prst="rect">
            <a:avLst/>
          </a:prstGeom>
          <a:noFill/>
        </p:spPr>
        <p:txBody>
          <a:bodyPr wrap="square" rtlCol="0">
            <a:spAutoFit/>
          </a:bodyPr>
          <a:lstStyle/>
          <a:p>
            <a:pPr algn="l"/>
            <a:r>
              <a:rPr lang="zh-CN" altLang="en-US" dirty="0" smtClean="0">
                <a:solidFill>
                  <a:schemeClr val="tx1"/>
                </a:solidFill>
                <a:latin typeface="Verdana" pitchFamily="34" charset="0"/>
                <a:ea typeface="Verdana" pitchFamily="34" charset="0"/>
                <a:cs typeface="Verdana" pitchFamily="34" charset="0"/>
              </a:rPr>
              <a:t>杭州协新信息科技有限公司</a:t>
            </a:r>
            <a:endParaRPr lang="en-US" altLang="zh-CN" dirty="0" smtClean="0">
              <a:solidFill>
                <a:schemeClr val="tx1"/>
              </a:solidFill>
              <a:latin typeface="Verdana" pitchFamily="34" charset="0"/>
              <a:ea typeface="Verdana" pitchFamily="34" charset="0"/>
              <a:cs typeface="Verdana" pitchFamily="34" charset="0"/>
            </a:endParaRPr>
          </a:p>
          <a:p>
            <a:pPr algn="l"/>
            <a:endParaRPr lang="en-US" altLang="zh-CN" dirty="0">
              <a:solidFill>
                <a:schemeClr val="bg2"/>
              </a:solidFill>
              <a:latin typeface="Verdana" pitchFamily="34" charset="0"/>
              <a:ea typeface="Verdana" pitchFamily="34" charset="0"/>
              <a:cs typeface="Verdana" pitchFamily="34" charset="0"/>
            </a:endParaRPr>
          </a:p>
          <a:p>
            <a:pPr algn="l"/>
            <a:r>
              <a:rPr lang="en-US" altLang="zh-CN" dirty="0" smtClean="0">
                <a:solidFill>
                  <a:schemeClr val="tx1"/>
                </a:solidFill>
                <a:latin typeface="Verdana" pitchFamily="34" charset="0"/>
                <a:ea typeface="Verdana" pitchFamily="34" charset="0"/>
                <a:cs typeface="Verdana" pitchFamily="34" charset="0"/>
              </a:rPr>
              <a:t>2018-3-27</a:t>
            </a:r>
            <a:endParaRPr lang="zh-CN" altLang="en-US" dirty="0" err="1" smtClean="0">
              <a:solidFill>
                <a:schemeClr val="tx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6897813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5DD3DB80-B894-403A-B48E-6FDC1A72010E}" type="slidenum">
              <a:rPr lang="zh-CN" altLang="en-US" smtClean="0"/>
              <a:pPr/>
              <a:t>9</a:t>
            </a:fld>
            <a:endParaRPr lang="zh-CN" altLang="en-US"/>
          </a:p>
        </p:txBody>
      </p:sp>
      <p:grpSp>
        <p:nvGrpSpPr>
          <p:cNvPr id="8" name="组合 7"/>
          <p:cNvGrpSpPr/>
          <p:nvPr/>
        </p:nvGrpSpPr>
        <p:grpSpPr>
          <a:xfrm>
            <a:off x="912414" y="665544"/>
            <a:ext cx="6898223" cy="4116397"/>
            <a:chOff x="912414" y="665544"/>
            <a:chExt cx="6898223" cy="4116397"/>
          </a:xfrm>
        </p:grpSpPr>
        <p:sp>
          <p:nvSpPr>
            <p:cNvPr id="4" name="矩形 3"/>
            <p:cNvSpPr/>
            <p:nvPr/>
          </p:nvSpPr>
          <p:spPr>
            <a:xfrm>
              <a:off x="925551" y="747132"/>
              <a:ext cx="6851612" cy="3091443"/>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 name="矩形 4"/>
            <p:cNvSpPr/>
            <p:nvPr/>
          </p:nvSpPr>
          <p:spPr>
            <a:xfrm>
              <a:off x="1416203" y="1011096"/>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 name="矩形 5"/>
            <p:cNvSpPr/>
            <p:nvPr/>
          </p:nvSpPr>
          <p:spPr>
            <a:xfrm>
              <a:off x="5597912" y="1010580"/>
              <a:ext cx="1918010" cy="2695134"/>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1" name="矩形 10"/>
            <p:cNvSpPr/>
            <p:nvPr/>
          </p:nvSpPr>
          <p:spPr>
            <a:xfrm>
              <a:off x="1416203" y="1547980"/>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2" name="矩形 11"/>
            <p:cNvSpPr/>
            <p:nvPr/>
          </p:nvSpPr>
          <p:spPr>
            <a:xfrm>
              <a:off x="1414883" y="2087980"/>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3" name="矩形 12"/>
            <p:cNvSpPr/>
            <p:nvPr/>
          </p:nvSpPr>
          <p:spPr>
            <a:xfrm>
              <a:off x="1414882" y="2626065"/>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 name="矩形 6"/>
            <p:cNvSpPr/>
            <p:nvPr/>
          </p:nvSpPr>
          <p:spPr>
            <a:xfrm>
              <a:off x="912414" y="4068366"/>
              <a:ext cx="6851612" cy="713575"/>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cxnSp>
          <p:nvCxnSpPr>
            <p:cNvPr id="9" name="肘形连接符 8"/>
            <p:cNvCxnSpPr>
              <a:stCxn id="7" idx="1"/>
            </p:cNvCxnSpPr>
            <p:nvPr/>
          </p:nvCxnSpPr>
          <p:spPr>
            <a:xfrm rot="10800000">
              <a:off x="912414" y="1168600"/>
              <a:ext cx="12700" cy="3256555"/>
            </a:xfrm>
            <a:prstGeom prst="bentConnector4">
              <a:avLst>
                <a:gd name="adj1" fmla="val 1975614"/>
                <a:gd name="adj2" fmla="val 99308"/>
              </a:avLst>
            </a:prstGeom>
            <a:ln>
              <a:prstDash val="sysDot"/>
            </a:ln>
          </p:spPr>
          <p:style>
            <a:lnRef idx="2">
              <a:schemeClr val="accent1"/>
            </a:lnRef>
            <a:fillRef idx="0">
              <a:schemeClr val="accent1"/>
            </a:fillRef>
            <a:effectRef idx="1">
              <a:schemeClr val="accent1"/>
            </a:effectRef>
            <a:fontRef idx="minor">
              <a:schemeClr val="tx1"/>
            </a:fontRef>
          </p:style>
        </p:cxnSp>
        <p:cxnSp>
          <p:nvCxnSpPr>
            <p:cNvPr id="30" name="肘形连接符 29"/>
            <p:cNvCxnSpPr/>
            <p:nvPr/>
          </p:nvCxnSpPr>
          <p:spPr>
            <a:xfrm rot="10800000" flipH="1">
              <a:off x="7797937" y="1126277"/>
              <a:ext cx="12700" cy="3169574"/>
            </a:xfrm>
            <a:prstGeom prst="bentConnector4">
              <a:avLst>
                <a:gd name="adj1" fmla="val 1800000"/>
                <a:gd name="adj2" fmla="val 99570"/>
              </a:avLst>
            </a:prstGeom>
            <a:ln>
              <a:prstDash val="sysDot"/>
            </a:ln>
          </p:spPr>
          <p:style>
            <a:lnRef idx="2">
              <a:schemeClr val="accent1"/>
            </a:lnRef>
            <a:fillRef idx="0">
              <a:schemeClr val="accent1"/>
            </a:fillRef>
            <a:effectRef idx="1">
              <a:schemeClr val="accent1"/>
            </a:effectRef>
            <a:fontRef idx="minor">
              <a:schemeClr val="tx1"/>
            </a:fontRef>
          </p:style>
        </p:cxnSp>
        <p:grpSp>
          <p:nvGrpSpPr>
            <p:cNvPr id="34" name="组合 33"/>
            <p:cNvGrpSpPr/>
            <p:nvPr/>
          </p:nvGrpSpPr>
          <p:grpSpPr>
            <a:xfrm>
              <a:off x="1491362" y="1146166"/>
              <a:ext cx="1094443" cy="276999"/>
              <a:chOff x="1491363" y="1146166"/>
              <a:chExt cx="970618" cy="276999"/>
            </a:xfrm>
          </p:grpSpPr>
          <p:sp>
            <p:nvSpPr>
              <p:cNvPr id="31" name="等腰三角形 30"/>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32" name="等腰三角形 31"/>
              <p:cNvSpPr/>
              <p:nvPr/>
            </p:nvSpPr>
            <p:spPr>
              <a:xfrm rot="5400000">
                <a:off x="2342300"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33" name="文本框 32"/>
              <p:cNvSpPr txBox="1"/>
              <p:nvPr/>
            </p:nvSpPr>
            <p:spPr>
              <a:xfrm>
                <a:off x="1570104" y="1146166"/>
                <a:ext cx="830032"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网络安全</a:t>
                </a:r>
              </a:p>
            </p:txBody>
          </p:sp>
        </p:grpSp>
        <p:pic>
          <p:nvPicPr>
            <p:cNvPr id="35" name="图片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5837" y="1066922"/>
              <a:ext cx="284400" cy="284400"/>
            </a:xfrm>
            <a:prstGeom prst="rect">
              <a:avLst/>
            </a:prstGeom>
          </p:spPr>
        </p:pic>
        <p:sp>
          <p:nvSpPr>
            <p:cNvPr id="36" name="文本框 35"/>
            <p:cNvSpPr txBox="1"/>
            <p:nvPr/>
          </p:nvSpPr>
          <p:spPr>
            <a:xfrm>
              <a:off x="3428324" y="1334080"/>
              <a:ext cx="1008576" cy="215444"/>
            </a:xfrm>
            <a:prstGeom prst="rect">
              <a:avLst/>
            </a:prstGeom>
            <a:noFill/>
          </p:spPr>
          <p:txBody>
            <a:bodyPr wrap="square" rtlCol="0">
              <a:spAutoFit/>
            </a:bodyPr>
            <a:lstStyle/>
            <a:p>
              <a:r>
                <a:rPr lang="en-US" altLang="zh-CN" sz="800" b="0" dirty="0" smtClean="0">
                  <a:solidFill>
                    <a:schemeClr val="tx1"/>
                  </a:solidFill>
                  <a:latin typeface="Verdana" pitchFamily="34" charset="0"/>
                  <a:ea typeface="Verdana" pitchFamily="34" charset="0"/>
                  <a:cs typeface="Verdana" pitchFamily="34" charset="0"/>
                </a:rPr>
                <a:t>WEB</a:t>
              </a:r>
              <a:r>
                <a:rPr lang="zh-CN" altLang="en-US" sz="800" b="0" dirty="0" smtClean="0">
                  <a:solidFill>
                    <a:schemeClr val="tx1"/>
                  </a:solidFill>
                  <a:latin typeface="Verdana" pitchFamily="34" charset="0"/>
                  <a:ea typeface="Verdana" pitchFamily="34" charset="0"/>
                  <a:cs typeface="Verdana" pitchFamily="34" charset="0"/>
                </a:rPr>
                <a:t>应用防火墙</a:t>
              </a:r>
            </a:p>
          </p:txBody>
        </p:sp>
        <p:pic>
          <p:nvPicPr>
            <p:cNvPr id="37" name="图片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1837" y="1026979"/>
              <a:ext cx="284400" cy="284400"/>
            </a:xfrm>
            <a:prstGeom prst="rect">
              <a:avLst/>
            </a:prstGeom>
          </p:spPr>
        </p:pic>
        <p:sp>
          <p:nvSpPr>
            <p:cNvPr id="38" name="文本框 37"/>
            <p:cNvSpPr txBox="1"/>
            <p:nvPr/>
          </p:nvSpPr>
          <p:spPr>
            <a:xfrm>
              <a:off x="2458744" y="1324739"/>
              <a:ext cx="916373" cy="215444"/>
            </a:xfrm>
            <a:prstGeom prst="rect">
              <a:avLst/>
            </a:prstGeom>
            <a:noFill/>
          </p:spPr>
          <p:txBody>
            <a:bodyPr wrap="square" rtlCol="0">
              <a:spAutoFit/>
            </a:bodyPr>
            <a:lstStyle/>
            <a:p>
              <a:r>
                <a:rPr lang="en-US" altLang="zh-CN" sz="800" b="0" dirty="0" err="1" smtClean="0">
                  <a:solidFill>
                    <a:schemeClr val="tx1"/>
                  </a:solidFill>
                  <a:latin typeface="Verdana" pitchFamily="34" charset="0"/>
                  <a:ea typeface="Verdana" pitchFamily="34" charset="0"/>
                  <a:cs typeface="Verdana" pitchFamily="34" charset="0"/>
                </a:rPr>
                <a:t>DDoS</a:t>
              </a:r>
              <a:r>
                <a:rPr lang="zh-CN" altLang="en-US" sz="800" b="0" dirty="0" smtClean="0">
                  <a:solidFill>
                    <a:schemeClr val="tx1"/>
                  </a:solidFill>
                  <a:latin typeface="Verdana" pitchFamily="34" charset="0"/>
                  <a:ea typeface="Verdana" pitchFamily="34" charset="0"/>
                  <a:cs typeface="Verdana" pitchFamily="34" charset="0"/>
                </a:rPr>
                <a:t>高防</a:t>
              </a:r>
              <a:r>
                <a:rPr lang="en-US" altLang="zh-CN" sz="800" b="0" dirty="0" smtClean="0">
                  <a:solidFill>
                    <a:schemeClr val="tx1"/>
                  </a:solidFill>
                  <a:latin typeface="Verdana" pitchFamily="34" charset="0"/>
                  <a:ea typeface="Verdana" pitchFamily="34" charset="0"/>
                  <a:cs typeface="Verdana" pitchFamily="34" charset="0"/>
                </a:rPr>
                <a:t>IP</a:t>
              </a:r>
              <a:endParaRPr lang="zh-CN" altLang="en-US" sz="800" b="0" dirty="0" smtClean="0">
                <a:solidFill>
                  <a:schemeClr val="tx1"/>
                </a:solidFill>
                <a:latin typeface="Verdana" pitchFamily="34" charset="0"/>
                <a:ea typeface="Verdana" pitchFamily="34" charset="0"/>
                <a:cs typeface="Verdana" pitchFamily="34" charset="0"/>
              </a:endParaRPr>
            </a:p>
          </p:txBody>
        </p:sp>
        <p:sp>
          <p:nvSpPr>
            <p:cNvPr id="39" name="文本框 38"/>
            <p:cNvSpPr txBox="1"/>
            <p:nvPr/>
          </p:nvSpPr>
          <p:spPr>
            <a:xfrm>
              <a:off x="4586205" y="1335659"/>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云防火墙</a:t>
              </a:r>
            </a:p>
          </p:txBody>
        </p:sp>
        <p:pic>
          <p:nvPicPr>
            <p:cNvPr id="40" name="图片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79836" y="1056844"/>
              <a:ext cx="284400" cy="284400"/>
            </a:xfrm>
            <a:prstGeom prst="rect">
              <a:avLst/>
            </a:prstGeom>
          </p:spPr>
        </p:pic>
        <p:grpSp>
          <p:nvGrpSpPr>
            <p:cNvPr id="41" name="组合 40"/>
            <p:cNvGrpSpPr/>
            <p:nvPr/>
          </p:nvGrpSpPr>
          <p:grpSpPr>
            <a:xfrm>
              <a:off x="1491363" y="1596645"/>
              <a:ext cx="1094443" cy="276999"/>
              <a:chOff x="1491363" y="1155691"/>
              <a:chExt cx="1094443" cy="276999"/>
            </a:xfrm>
          </p:grpSpPr>
          <p:sp>
            <p:nvSpPr>
              <p:cNvPr id="42" name="等腰三角形 41"/>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3" name="等腰三角形 42"/>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4" name="文本框 43"/>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服务器</a:t>
                </a:r>
                <a:r>
                  <a:rPr lang="zh-CN" altLang="en-US" sz="1200" b="0" dirty="0" smtClean="0">
                    <a:solidFill>
                      <a:schemeClr val="tx1"/>
                    </a:solidFill>
                    <a:latin typeface="+mn-lt"/>
                    <a:ea typeface="Verdana" pitchFamily="34" charset="0"/>
                    <a:cs typeface="Verdana" pitchFamily="34" charset="0"/>
                  </a:rPr>
                  <a:t>安全</a:t>
                </a:r>
              </a:p>
            </p:txBody>
          </p:sp>
        </p:grpSp>
        <p:pic>
          <p:nvPicPr>
            <p:cNvPr id="45" name="图片 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0687" y="1609635"/>
              <a:ext cx="284400" cy="284400"/>
            </a:xfrm>
            <a:prstGeom prst="rect">
              <a:avLst/>
            </a:prstGeom>
          </p:spPr>
        </p:pic>
        <p:sp>
          <p:nvSpPr>
            <p:cNvPr id="46" name="文本框 45"/>
            <p:cNvSpPr txBox="1"/>
            <p:nvPr/>
          </p:nvSpPr>
          <p:spPr>
            <a:xfrm>
              <a:off x="3387621" y="1867891"/>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安骑士</a:t>
              </a:r>
              <a:endParaRPr lang="zh-CN" altLang="en-US" sz="800" b="0" dirty="0" smtClean="0">
                <a:solidFill>
                  <a:schemeClr val="tx1"/>
                </a:solidFill>
                <a:latin typeface="Verdana" pitchFamily="34" charset="0"/>
                <a:ea typeface="Verdana" pitchFamily="34" charset="0"/>
                <a:cs typeface="Verdana" pitchFamily="34" charset="0"/>
              </a:endParaRPr>
            </a:p>
          </p:txBody>
        </p:sp>
        <p:grpSp>
          <p:nvGrpSpPr>
            <p:cNvPr id="47" name="组合 46"/>
            <p:cNvGrpSpPr/>
            <p:nvPr/>
          </p:nvGrpSpPr>
          <p:grpSpPr>
            <a:xfrm>
              <a:off x="1500887" y="2146778"/>
              <a:ext cx="1094443" cy="276999"/>
              <a:chOff x="1491363" y="1155691"/>
              <a:chExt cx="1094443" cy="276999"/>
            </a:xfrm>
          </p:grpSpPr>
          <p:sp>
            <p:nvSpPr>
              <p:cNvPr id="48" name="等腰三角形 47"/>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49" name="等腰三角形 48"/>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0" name="文本框 49"/>
              <p:cNvSpPr txBox="1"/>
              <p:nvPr/>
            </p:nvSpPr>
            <p:spPr>
              <a:xfrm>
                <a:off x="1523556" y="1155691"/>
                <a:ext cx="1024150"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应用安全</a:t>
                </a:r>
              </a:p>
            </p:txBody>
          </p:sp>
        </p:grpSp>
        <p:pic>
          <p:nvPicPr>
            <p:cNvPr id="51" name="图片 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69413" y="2102256"/>
              <a:ext cx="284400" cy="284400"/>
            </a:xfrm>
            <a:prstGeom prst="rect">
              <a:avLst/>
            </a:prstGeom>
          </p:spPr>
        </p:pic>
        <p:sp>
          <p:nvSpPr>
            <p:cNvPr id="52" name="文本框 51"/>
            <p:cNvSpPr txBox="1"/>
            <p:nvPr/>
          </p:nvSpPr>
          <p:spPr>
            <a:xfrm>
              <a:off x="2735532" y="2385262"/>
              <a:ext cx="1008576" cy="215444"/>
            </a:xfrm>
            <a:prstGeom prst="rect">
              <a:avLst/>
            </a:prstGeom>
            <a:noFill/>
          </p:spPr>
          <p:txBody>
            <a:bodyPr wrap="square" rtlCol="0">
              <a:spAutoFit/>
            </a:bodyPr>
            <a:lstStyle/>
            <a:p>
              <a:r>
                <a:rPr lang="en-US" altLang="zh-CN" sz="800" b="0" dirty="0" smtClean="0">
                  <a:solidFill>
                    <a:schemeClr val="tx1"/>
                  </a:solidFill>
                  <a:latin typeface="Verdana" pitchFamily="34" charset="0"/>
                  <a:ea typeface="Verdana" pitchFamily="34" charset="0"/>
                  <a:cs typeface="Verdana" pitchFamily="34" charset="0"/>
                </a:rPr>
                <a:t>CA</a:t>
              </a:r>
              <a:r>
                <a:rPr lang="zh-CN" altLang="en-US" sz="800" b="0" dirty="0" smtClean="0">
                  <a:solidFill>
                    <a:schemeClr val="tx1"/>
                  </a:solidFill>
                  <a:latin typeface="Verdana" pitchFamily="34" charset="0"/>
                  <a:ea typeface="Verdana" pitchFamily="34" charset="0"/>
                  <a:cs typeface="Verdana" pitchFamily="34" charset="0"/>
                </a:rPr>
                <a:t>证书服务</a:t>
              </a:r>
            </a:p>
          </p:txBody>
        </p:sp>
        <p:pic>
          <p:nvPicPr>
            <p:cNvPr id="53" name="图片 5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35930" y="2102256"/>
              <a:ext cx="284400" cy="284400"/>
            </a:xfrm>
            <a:prstGeom prst="rect">
              <a:avLst/>
            </a:prstGeom>
          </p:spPr>
        </p:pic>
        <p:sp>
          <p:nvSpPr>
            <p:cNvPr id="54" name="文本框 53"/>
            <p:cNvSpPr txBox="1"/>
            <p:nvPr/>
          </p:nvSpPr>
          <p:spPr>
            <a:xfrm>
              <a:off x="3922411" y="241359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移动安全</a:t>
              </a:r>
            </a:p>
          </p:txBody>
        </p:sp>
        <p:sp>
          <p:nvSpPr>
            <p:cNvPr id="63" name="矩形 62"/>
            <p:cNvSpPr/>
            <p:nvPr/>
          </p:nvSpPr>
          <p:spPr>
            <a:xfrm>
              <a:off x="1414882" y="3160861"/>
              <a:ext cx="3920467" cy="540000"/>
            </a:xfrm>
            <a:prstGeom prst="rect">
              <a:avLst/>
            </a:prstGeom>
            <a:solidFill>
              <a:schemeClr val="bg1"/>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grpSp>
          <p:nvGrpSpPr>
            <p:cNvPr id="55" name="组合 54"/>
            <p:cNvGrpSpPr/>
            <p:nvPr/>
          </p:nvGrpSpPr>
          <p:grpSpPr>
            <a:xfrm>
              <a:off x="1500887" y="2713468"/>
              <a:ext cx="1094443" cy="276999"/>
              <a:chOff x="1491363" y="1155691"/>
              <a:chExt cx="1094443" cy="276999"/>
            </a:xfrm>
          </p:grpSpPr>
          <p:sp>
            <p:nvSpPr>
              <p:cNvPr id="56" name="等腰三角形 55"/>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7" name="等腰三角形 56"/>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8" name="文本框 57"/>
              <p:cNvSpPr txBox="1"/>
              <p:nvPr/>
            </p:nvSpPr>
            <p:spPr>
              <a:xfrm>
                <a:off x="1523556" y="1155691"/>
                <a:ext cx="1024150" cy="276999"/>
              </a:xfrm>
              <a:prstGeom prst="rect">
                <a:avLst/>
              </a:prstGeom>
              <a:noFill/>
            </p:spPr>
            <p:txBody>
              <a:bodyPr wrap="square" rtlCol="0">
                <a:spAutoFit/>
              </a:bodyPr>
              <a:lstStyle/>
              <a:p>
                <a:r>
                  <a:rPr lang="zh-CN" altLang="en-US" sz="1200" b="0" dirty="0">
                    <a:solidFill>
                      <a:schemeClr val="tx1"/>
                    </a:solidFill>
                    <a:latin typeface="+mn-lt"/>
                    <a:ea typeface="Verdana" pitchFamily="34" charset="0"/>
                    <a:cs typeface="Verdana" pitchFamily="34" charset="0"/>
                  </a:rPr>
                  <a:t>数据</a:t>
                </a:r>
                <a:r>
                  <a:rPr lang="zh-CN" altLang="en-US" sz="1200" b="0" dirty="0" smtClean="0">
                    <a:solidFill>
                      <a:schemeClr val="tx1"/>
                    </a:solidFill>
                    <a:latin typeface="+mn-lt"/>
                    <a:ea typeface="Verdana" pitchFamily="34" charset="0"/>
                    <a:cs typeface="Verdana" pitchFamily="34" charset="0"/>
                  </a:rPr>
                  <a:t>安全</a:t>
                </a:r>
              </a:p>
            </p:txBody>
          </p:sp>
        </p:grpSp>
        <p:pic>
          <p:nvPicPr>
            <p:cNvPr id="59" name="图片 5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68875" y="2660380"/>
              <a:ext cx="284400" cy="284400"/>
            </a:xfrm>
            <a:prstGeom prst="rect">
              <a:avLst/>
            </a:prstGeom>
          </p:spPr>
        </p:pic>
        <p:pic>
          <p:nvPicPr>
            <p:cNvPr id="60" name="图片 5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49430" y="2714645"/>
              <a:ext cx="212400" cy="212400"/>
            </a:xfrm>
            <a:prstGeom prst="rect">
              <a:avLst/>
            </a:prstGeom>
          </p:spPr>
        </p:pic>
        <p:sp>
          <p:nvSpPr>
            <p:cNvPr id="61" name="文本框 60"/>
            <p:cNvSpPr txBox="1"/>
            <p:nvPr/>
          </p:nvSpPr>
          <p:spPr>
            <a:xfrm>
              <a:off x="2782554" y="2974868"/>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数据库审计</a:t>
              </a:r>
            </a:p>
          </p:txBody>
        </p:sp>
        <p:sp>
          <p:nvSpPr>
            <p:cNvPr id="62" name="文本框 61"/>
            <p:cNvSpPr txBox="1"/>
            <p:nvPr/>
          </p:nvSpPr>
          <p:spPr>
            <a:xfrm>
              <a:off x="3951866" y="295733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加密服务</a:t>
              </a:r>
            </a:p>
          </p:txBody>
        </p:sp>
        <p:grpSp>
          <p:nvGrpSpPr>
            <p:cNvPr id="64" name="组合 63"/>
            <p:cNvGrpSpPr/>
            <p:nvPr/>
          </p:nvGrpSpPr>
          <p:grpSpPr>
            <a:xfrm>
              <a:off x="1491362" y="3216988"/>
              <a:ext cx="1094443" cy="276999"/>
              <a:chOff x="1491363" y="1155691"/>
              <a:chExt cx="1094443" cy="276999"/>
            </a:xfrm>
          </p:grpSpPr>
          <p:sp>
            <p:nvSpPr>
              <p:cNvPr id="65" name="等腰三角形 64"/>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6" name="等腰三角形 65"/>
              <p:cNvSpPr/>
              <p:nvPr/>
            </p:nvSpPr>
            <p:spPr>
              <a:xfrm rot="5400000">
                <a:off x="2466125"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67" name="文本框 66"/>
              <p:cNvSpPr txBox="1"/>
              <p:nvPr/>
            </p:nvSpPr>
            <p:spPr>
              <a:xfrm>
                <a:off x="1523556" y="1155691"/>
                <a:ext cx="1024150"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业务安全</a:t>
                </a:r>
              </a:p>
            </p:txBody>
          </p:sp>
        </p:grpSp>
        <p:sp>
          <p:nvSpPr>
            <p:cNvPr id="68" name="文本框 67"/>
            <p:cNvSpPr txBox="1"/>
            <p:nvPr/>
          </p:nvSpPr>
          <p:spPr>
            <a:xfrm>
              <a:off x="2763300" y="3499982"/>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数据风控</a:t>
              </a:r>
            </a:p>
          </p:txBody>
        </p:sp>
        <p:sp>
          <p:nvSpPr>
            <p:cNvPr id="69" name="文本框 68"/>
            <p:cNvSpPr txBox="1"/>
            <p:nvPr/>
          </p:nvSpPr>
          <p:spPr>
            <a:xfrm>
              <a:off x="3932612" y="3482446"/>
              <a:ext cx="1008576"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内容安全</a:t>
              </a:r>
            </a:p>
          </p:txBody>
        </p:sp>
        <p:pic>
          <p:nvPicPr>
            <p:cNvPr id="70" name="图片 6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143924" y="3218505"/>
              <a:ext cx="284400" cy="284400"/>
            </a:xfrm>
            <a:prstGeom prst="rect">
              <a:avLst/>
            </a:prstGeom>
          </p:spPr>
        </p:pic>
        <p:pic>
          <p:nvPicPr>
            <p:cNvPr id="71" name="图片 7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23206" y="3204357"/>
              <a:ext cx="284400" cy="284400"/>
            </a:xfrm>
            <a:prstGeom prst="rect">
              <a:avLst/>
            </a:prstGeom>
          </p:spPr>
        </p:pic>
        <p:grpSp>
          <p:nvGrpSpPr>
            <p:cNvPr id="72" name="组合 71"/>
            <p:cNvGrpSpPr/>
            <p:nvPr/>
          </p:nvGrpSpPr>
          <p:grpSpPr>
            <a:xfrm>
              <a:off x="6035429" y="1142596"/>
              <a:ext cx="1094443" cy="276999"/>
              <a:chOff x="1491363" y="1146166"/>
              <a:chExt cx="970618" cy="276999"/>
            </a:xfrm>
          </p:grpSpPr>
          <p:sp>
            <p:nvSpPr>
              <p:cNvPr id="73" name="等腰三角形 72"/>
              <p:cNvSpPr/>
              <p:nvPr/>
            </p:nvSpPr>
            <p:spPr>
              <a:xfrm rot="16200000" flipH="1">
                <a:off x="1450202"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4" name="等腰三角形 73"/>
              <p:cNvSpPr/>
              <p:nvPr/>
            </p:nvSpPr>
            <p:spPr>
              <a:xfrm rot="5400000">
                <a:off x="2342300" y="1245406"/>
                <a:ext cx="160841" cy="78520"/>
              </a:xfrm>
              <a:prstGeom prst="triangl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75" name="文本框 74"/>
              <p:cNvSpPr txBox="1"/>
              <p:nvPr/>
            </p:nvSpPr>
            <p:spPr>
              <a:xfrm>
                <a:off x="1570104" y="1146166"/>
                <a:ext cx="830032" cy="276999"/>
              </a:xfrm>
              <a:prstGeom prst="rect">
                <a:avLst/>
              </a:prstGeom>
              <a:noFill/>
            </p:spPr>
            <p:txBody>
              <a:bodyPr wrap="square" rtlCol="0">
                <a:spAutoFit/>
              </a:bodyPr>
              <a:lstStyle/>
              <a:p>
                <a:r>
                  <a:rPr lang="zh-CN" altLang="en-US" sz="1200" b="0" dirty="0" smtClean="0">
                    <a:solidFill>
                      <a:schemeClr val="tx1"/>
                    </a:solidFill>
                    <a:latin typeface="+mn-lt"/>
                    <a:ea typeface="Verdana" pitchFamily="34" charset="0"/>
                    <a:cs typeface="Verdana" pitchFamily="34" charset="0"/>
                  </a:rPr>
                  <a:t>安全管理</a:t>
                </a:r>
              </a:p>
            </p:txBody>
          </p:sp>
        </p:grpSp>
        <p:pic>
          <p:nvPicPr>
            <p:cNvPr id="76" name="图片 7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95306" y="2076778"/>
              <a:ext cx="284400" cy="284400"/>
            </a:xfrm>
            <a:prstGeom prst="rect">
              <a:avLst/>
            </a:prstGeom>
          </p:spPr>
        </p:pic>
        <p:sp>
          <p:nvSpPr>
            <p:cNvPr id="77" name="文本框 76"/>
            <p:cNvSpPr txBox="1"/>
            <p:nvPr/>
          </p:nvSpPr>
          <p:spPr>
            <a:xfrm>
              <a:off x="6241643" y="2360076"/>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堡垒机</a:t>
              </a:r>
            </a:p>
          </p:txBody>
        </p:sp>
        <p:pic>
          <p:nvPicPr>
            <p:cNvPr id="78" name="图片 7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95306" y="1521641"/>
              <a:ext cx="284400" cy="284400"/>
            </a:xfrm>
            <a:prstGeom prst="rect">
              <a:avLst/>
            </a:prstGeom>
          </p:spPr>
        </p:pic>
        <p:pic>
          <p:nvPicPr>
            <p:cNvPr id="79" name="图片 7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395306" y="2640959"/>
              <a:ext cx="284400" cy="284400"/>
            </a:xfrm>
            <a:prstGeom prst="rect">
              <a:avLst/>
            </a:prstGeom>
          </p:spPr>
        </p:pic>
        <p:sp>
          <p:nvSpPr>
            <p:cNvPr id="80" name="文本框 79"/>
            <p:cNvSpPr txBox="1"/>
            <p:nvPr/>
          </p:nvSpPr>
          <p:spPr>
            <a:xfrm>
              <a:off x="6241643" y="2947247"/>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安全管家</a:t>
              </a:r>
            </a:p>
          </p:txBody>
        </p:sp>
        <p:pic>
          <p:nvPicPr>
            <p:cNvPr id="81" name="图片 8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95306" y="3211763"/>
              <a:ext cx="284400" cy="284400"/>
            </a:xfrm>
            <a:prstGeom prst="rect">
              <a:avLst/>
            </a:prstGeom>
          </p:spPr>
        </p:pic>
        <p:sp>
          <p:nvSpPr>
            <p:cNvPr id="82" name="文本框 81"/>
            <p:cNvSpPr txBox="1"/>
            <p:nvPr/>
          </p:nvSpPr>
          <p:spPr>
            <a:xfrm>
              <a:off x="6241643" y="3489872"/>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混合云</a:t>
              </a:r>
            </a:p>
          </p:txBody>
        </p:sp>
        <p:sp>
          <p:nvSpPr>
            <p:cNvPr id="83" name="文本框 82"/>
            <p:cNvSpPr txBox="1"/>
            <p:nvPr/>
          </p:nvSpPr>
          <p:spPr>
            <a:xfrm>
              <a:off x="6241643" y="1795342"/>
              <a:ext cx="591727" cy="215444"/>
            </a:xfrm>
            <a:prstGeom prst="rect">
              <a:avLst/>
            </a:prstGeom>
            <a:noFill/>
          </p:spPr>
          <p:txBody>
            <a:bodyPr wrap="square" rtlCol="0">
              <a:spAutoFit/>
            </a:bodyPr>
            <a:lstStyle/>
            <a:p>
              <a:r>
                <a:rPr lang="zh-CN" altLang="en-US" sz="800" b="0" dirty="0" smtClean="0">
                  <a:solidFill>
                    <a:schemeClr val="tx1"/>
                  </a:solidFill>
                  <a:latin typeface="Verdana" pitchFamily="34" charset="0"/>
                  <a:ea typeface="Verdana" pitchFamily="34" charset="0"/>
                  <a:cs typeface="Verdana" pitchFamily="34" charset="0"/>
                </a:rPr>
                <a:t>态势感知</a:t>
              </a:r>
            </a:p>
          </p:txBody>
        </p:sp>
        <p:pic>
          <p:nvPicPr>
            <p:cNvPr id="84" name="图片 8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219325" y="4210384"/>
              <a:ext cx="284400" cy="284400"/>
            </a:xfrm>
            <a:prstGeom prst="rect">
              <a:avLst/>
            </a:prstGeom>
          </p:spPr>
        </p:pic>
        <p:sp>
          <p:nvSpPr>
            <p:cNvPr id="85" name="文本框 84"/>
            <p:cNvSpPr txBox="1"/>
            <p:nvPr/>
          </p:nvSpPr>
          <p:spPr>
            <a:xfrm>
              <a:off x="3818918" y="4518697"/>
              <a:ext cx="1008576" cy="215444"/>
            </a:xfrm>
            <a:prstGeom prst="rect">
              <a:avLst/>
            </a:prstGeom>
            <a:noFill/>
          </p:spPr>
          <p:txBody>
            <a:bodyPr wrap="square" rtlCol="0">
              <a:spAutoFit/>
            </a:bodyPr>
            <a:lstStyle/>
            <a:p>
              <a:r>
                <a:rPr lang="zh-CN" altLang="en-US" sz="800" b="0" dirty="0">
                  <a:solidFill>
                    <a:schemeClr val="tx1"/>
                  </a:solidFill>
                  <a:latin typeface="Verdana" pitchFamily="34" charset="0"/>
                  <a:ea typeface="Verdana" pitchFamily="34" charset="0"/>
                  <a:cs typeface="Verdana" pitchFamily="34" charset="0"/>
                </a:rPr>
                <a:t>先知</a:t>
              </a:r>
              <a:endParaRPr lang="zh-CN" altLang="en-US" sz="800" b="0" dirty="0" smtClean="0">
                <a:solidFill>
                  <a:schemeClr val="tx1"/>
                </a:solidFill>
                <a:latin typeface="Verdana" pitchFamily="34" charset="0"/>
                <a:ea typeface="Verdana" pitchFamily="34" charset="0"/>
                <a:cs typeface="Verdana" pitchFamily="34" charset="0"/>
              </a:endParaRPr>
            </a:p>
          </p:txBody>
        </p:sp>
        <p:sp>
          <p:nvSpPr>
            <p:cNvPr id="86" name="文本框 85"/>
            <p:cNvSpPr txBox="1"/>
            <p:nvPr/>
          </p:nvSpPr>
          <p:spPr>
            <a:xfrm>
              <a:off x="3769191" y="3968828"/>
              <a:ext cx="1152845" cy="246221"/>
            </a:xfrm>
            <a:prstGeom prst="rect">
              <a:avLst/>
            </a:prstGeom>
            <a:solidFill>
              <a:schemeClr val="bg1"/>
            </a:solidFill>
          </p:spPr>
          <p:txBody>
            <a:bodyPr wrap="square" rtlCol="0">
              <a:spAutoFit/>
            </a:bodyPr>
            <a:lstStyle/>
            <a:p>
              <a:r>
                <a:rPr lang="zh-CN" altLang="en-US" sz="1000" b="0" dirty="0" smtClean="0">
                  <a:solidFill>
                    <a:schemeClr val="tx1"/>
                  </a:solidFill>
                  <a:latin typeface="Verdana" pitchFamily="34" charset="0"/>
                  <a:ea typeface="Verdana" pitchFamily="34" charset="0"/>
                  <a:cs typeface="Verdana" pitchFamily="34" charset="0"/>
                </a:rPr>
                <a:t>先知（服务）</a:t>
              </a:r>
            </a:p>
          </p:txBody>
        </p:sp>
        <p:sp>
          <p:nvSpPr>
            <p:cNvPr id="89" name="文本框 88"/>
            <p:cNvSpPr txBox="1"/>
            <p:nvPr/>
          </p:nvSpPr>
          <p:spPr>
            <a:xfrm>
              <a:off x="3932612" y="665544"/>
              <a:ext cx="1152845" cy="246221"/>
            </a:xfrm>
            <a:prstGeom prst="rect">
              <a:avLst/>
            </a:prstGeom>
            <a:solidFill>
              <a:schemeClr val="bg1"/>
            </a:solidFill>
          </p:spPr>
          <p:txBody>
            <a:bodyPr wrap="square" rtlCol="0">
              <a:spAutoFit/>
            </a:bodyPr>
            <a:lstStyle/>
            <a:p>
              <a:r>
                <a:rPr lang="zh-CN" altLang="en-US" sz="1000" b="0" dirty="0" smtClean="0">
                  <a:solidFill>
                    <a:schemeClr val="tx1"/>
                  </a:solidFill>
                  <a:latin typeface="Verdana" pitchFamily="34" charset="0"/>
                  <a:ea typeface="Verdana" pitchFamily="34" charset="0"/>
                  <a:cs typeface="Verdana" pitchFamily="34" charset="0"/>
                </a:rPr>
                <a:t>系统安全设计</a:t>
              </a:r>
            </a:p>
          </p:txBody>
        </p:sp>
      </p:grpSp>
      <p:sp>
        <p:nvSpPr>
          <p:cNvPr id="87" name="标题 1"/>
          <p:cNvSpPr>
            <a:spLocks noGrp="1"/>
          </p:cNvSpPr>
          <p:nvPr>
            <p:ph type="title"/>
          </p:nvPr>
        </p:nvSpPr>
        <p:spPr/>
        <p:txBody>
          <a:bodyPr/>
          <a:lstStyle/>
          <a:p>
            <a:r>
              <a:rPr lang="zh-CN" altLang="en-US" dirty="0" smtClean="0">
                <a:latin typeface="微软雅黑" pitchFamily="34" charset="-122"/>
                <a:ea typeface="微软雅黑" pitchFamily="34" charset="-122"/>
              </a:rPr>
              <a:t>系统部署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安全设计</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val="597554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5</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项目实施过程</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10</a:t>
            </a:fld>
            <a:endParaRPr lang="en-US"/>
          </a:p>
        </p:txBody>
      </p:sp>
      <p:sp>
        <p:nvSpPr>
          <p:cNvPr id="5" name="矩形 4"/>
          <p:cNvSpPr/>
          <p:nvPr/>
        </p:nvSpPr>
        <p:spPr>
          <a:xfrm>
            <a:off x="224309" y="1334623"/>
            <a:ext cx="8202613" cy="468000"/>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6" name="文本框 5"/>
          <p:cNvSpPr txBox="1"/>
          <p:nvPr/>
        </p:nvSpPr>
        <p:spPr>
          <a:xfrm>
            <a:off x="189604" y="1393664"/>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方案架构</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7" name="圆角矩形 6"/>
          <p:cNvSpPr/>
          <p:nvPr/>
        </p:nvSpPr>
        <p:spPr>
          <a:xfrm>
            <a:off x="1155937"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架构诊断</a:t>
            </a:r>
          </a:p>
        </p:txBody>
      </p:sp>
      <p:sp>
        <p:nvSpPr>
          <p:cNvPr id="8" name="圆角矩形 7"/>
          <p:cNvSpPr/>
          <p:nvPr/>
        </p:nvSpPr>
        <p:spPr>
          <a:xfrm>
            <a:off x="2365436"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环境的计划安排</a:t>
            </a:r>
          </a:p>
        </p:txBody>
      </p:sp>
      <p:sp>
        <p:nvSpPr>
          <p:cNvPr id="9" name="圆角矩形 8"/>
          <p:cNvSpPr/>
          <p:nvPr/>
        </p:nvSpPr>
        <p:spPr>
          <a:xfrm>
            <a:off x="3574935"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环境的初始化</a:t>
            </a:r>
          </a:p>
        </p:txBody>
      </p:sp>
      <p:sp>
        <p:nvSpPr>
          <p:cNvPr id="10" name="圆角矩形 9"/>
          <p:cNvSpPr/>
          <p:nvPr/>
        </p:nvSpPr>
        <p:spPr>
          <a:xfrm>
            <a:off x="4784434" y="139366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部署切换的计划</a:t>
            </a:r>
          </a:p>
        </p:txBody>
      </p:sp>
      <p:sp>
        <p:nvSpPr>
          <p:cNvPr id="11" name="圆角矩形 10"/>
          <p:cNvSpPr/>
          <p:nvPr/>
        </p:nvSpPr>
        <p:spPr>
          <a:xfrm>
            <a:off x="5995149" y="1393664"/>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生产环境准备</a:t>
            </a:r>
          </a:p>
        </p:txBody>
      </p:sp>
      <p:sp>
        <p:nvSpPr>
          <p:cNvPr id="12" name="矩形 11"/>
          <p:cNvSpPr/>
          <p:nvPr/>
        </p:nvSpPr>
        <p:spPr>
          <a:xfrm>
            <a:off x="246485" y="1825712"/>
            <a:ext cx="8202613" cy="468000"/>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13" name="文本框 12"/>
          <p:cNvSpPr txBox="1"/>
          <p:nvPr/>
        </p:nvSpPr>
        <p:spPr>
          <a:xfrm>
            <a:off x="189604" y="1891053"/>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项目管理</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14" name="圆角矩形 13"/>
          <p:cNvSpPr/>
          <p:nvPr/>
        </p:nvSpPr>
        <p:spPr>
          <a:xfrm>
            <a:off x="1155937"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SOW</a:t>
            </a: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定义</a:t>
            </a:r>
          </a:p>
        </p:txBody>
      </p:sp>
      <p:sp>
        <p:nvSpPr>
          <p:cNvPr id="15" name="圆角矩形 14"/>
          <p:cNvSpPr/>
          <p:nvPr/>
        </p:nvSpPr>
        <p:spPr>
          <a:xfrm>
            <a:off x="2365436"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制定项目主计划</a:t>
            </a:r>
          </a:p>
        </p:txBody>
      </p:sp>
      <p:sp>
        <p:nvSpPr>
          <p:cNvPr id="16" name="圆角矩形 15"/>
          <p:cNvSpPr/>
          <p:nvPr/>
        </p:nvSpPr>
        <p:spPr>
          <a:xfrm>
            <a:off x="3574935"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执行和监控</a:t>
            </a:r>
          </a:p>
        </p:txBody>
      </p:sp>
      <p:sp>
        <p:nvSpPr>
          <p:cNvPr id="17" name="圆角矩形 16"/>
          <p:cNvSpPr/>
          <p:nvPr/>
        </p:nvSpPr>
        <p:spPr>
          <a:xfrm>
            <a:off x="4784434" y="1891053"/>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沟通和汇报</a:t>
            </a:r>
          </a:p>
        </p:txBody>
      </p:sp>
      <p:sp>
        <p:nvSpPr>
          <p:cNvPr id="18" name="圆角矩形 17"/>
          <p:cNvSpPr/>
          <p:nvPr/>
        </p:nvSpPr>
        <p:spPr>
          <a:xfrm>
            <a:off x="5995149"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部署管理</a:t>
            </a:r>
          </a:p>
        </p:txBody>
      </p:sp>
      <p:sp>
        <p:nvSpPr>
          <p:cNvPr id="19" name="圆角矩形 18"/>
          <p:cNvSpPr/>
          <p:nvPr/>
        </p:nvSpPr>
        <p:spPr>
          <a:xfrm>
            <a:off x="7204649" y="1891053"/>
            <a:ext cx="1080000"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项目关闭</a:t>
            </a:r>
          </a:p>
        </p:txBody>
      </p:sp>
      <p:sp>
        <p:nvSpPr>
          <p:cNvPr id="20" name="矩形 19"/>
          <p:cNvSpPr/>
          <p:nvPr/>
        </p:nvSpPr>
        <p:spPr>
          <a:xfrm>
            <a:off x="246485" y="2329768"/>
            <a:ext cx="8202613" cy="2387736"/>
          </a:xfrm>
          <a:prstGeom prst="rect">
            <a:avLst/>
          </a:prstGeom>
          <a:noFill/>
          <a:ln w="317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p:txBody>
      </p:sp>
      <p:sp>
        <p:nvSpPr>
          <p:cNvPr id="21" name="文本框 20"/>
          <p:cNvSpPr txBox="1"/>
          <p:nvPr/>
        </p:nvSpPr>
        <p:spPr>
          <a:xfrm>
            <a:off x="261832" y="3105071"/>
            <a:ext cx="1296144" cy="338554"/>
          </a:xfrm>
          <a:prstGeom prst="rect">
            <a:avLst/>
          </a:prstGeom>
          <a:noFill/>
        </p:spPr>
        <p:txBody>
          <a:bodyPr wrap="square" rtlCol="0">
            <a:spAutoFit/>
          </a:bodyPr>
          <a:lstStyle/>
          <a:p>
            <a:pPr algn="l" defTabSz="914400" fontAlgn="auto">
              <a:spcBef>
                <a:spcPts val="0"/>
              </a:spcBef>
              <a:spcAft>
                <a:spcPts val="0"/>
              </a:spcAft>
            </a:pPr>
            <a:r>
              <a:rPr lang="zh-CN" altLang="en-US" sz="1600" dirty="0" smtClean="0">
                <a:solidFill>
                  <a:srgbClr val="000000"/>
                </a:solidFill>
                <a:latin typeface="微软雅黑" panose="020B0503020204020204" pitchFamily="34" charset="-122"/>
                <a:ea typeface="微软雅黑" panose="020B0503020204020204" pitchFamily="34" charset="-122"/>
              </a:rPr>
              <a:t>方案开发</a:t>
            </a:r>
            <a:endParaRPr lang="zh-CN" altLang="en-US" sz="1600" dirty="0">
              <a:solidFill>
                <a:srgbClr val="000000"/>
              </a:solidFill>
              <a:latin typeface="微软雅黑" panose="020B0503020204020204" pitchFamily="34" charset="-122"/>
              <a:ea typeface="微软雅黑" panose="020B0503020204020204" pitchFamily="34" charset="-122"/>
            </a:endParaRPr>
          </a:p>
        </p:txBody>
      </p:sp>
      <p:sp>
        <p:nvSpPr>
          <p:cNvPr id="22" name="圆角矩形 21"/>
          <p:cNvSpPr/>
          <p:nvPr/>
        </p:nvSpPr>
        <p:spPr>
          <a:xfrm>
            <a:off x="4114934" y="2390072"/>
            <a:ext cx="1219065"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迭代范围和计划</a:t>
            </a:r>
          </a:p>
        </p:txBody>
      </p:sp>
      <p:sp>
        <p:nvSpPr>
          <p:cNvPr id="23" name="圆角矩形 22"/>
          <p:cNvSpPr/>
          <p:nvPr/>
        </p:nvSpPr>
        <p:spPr>
          <a:xfrm>
            <a:off x="1188843"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部署路标计划</a:t>
            </a:r>
          </a:p>
        </p:txBody>
      </p:sp>
      <p:sp>
        <p:nvSpPr>
          <p:cNvPr id="24" name="圆角矩形 23"/>
          <p:cNvSpPr/>
          <p:nvPr/>
        </p:nvSpPr>
        <p:spPr>
          <a:xfrm>
            <a:off x="2392004"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需求和迭代的计划</a:t>
            </a:r>
          </a:p>
        </p:txBody>
      </p:sp>
      <p:sp>
        <p:nvSpPr>
          <p:cNvPr id="25" name="圆角矩形 24"/>
          <p:cNvSpPr/>
          <p:nvPr/>
        </p:nvSpPr>
        <p:spPr>
          <a:xfrm>
            <a:off x="3595165" y="2810376"/>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评审和反馈</a:t>
            </a:r>
          </a:p>
        </p:txBody>
      </p:sp>
      <p:sp>
        <p:nvSpPr>
          <p:cNvPr id="26" name="圆角矩形 25"/>
          <p:cNvSpPr/>
          <p:nvPr/>
        </p:nvSpPr>
        <p:spPr>
          <a:xfrm>
            <a:off x="4798326" y="28221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需求匹配和差距分析</a:t>
            </a:r>
          </a:p>
        </p:txBody>
      </p:sp>
      <p:sp>
        <p:nvSpPr>
          <p:cNvPr id="27" name="圆角矩形 26"/>
          <p:cNvSpPr/>
          <p:nvPr/>
        </p:nvSpPr>
        <p:spPr>
          <a:xfrm>
            <a:off x="6001487" y="281136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UAT</a:t>
            </a:r>
            <a:endPar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endParaRPr>
          </a:p>
        </p:txBody>
      </p:sp>
      <p:sp>
        <p:nvSpPr>
          <p:cNvPr id="28" name="圆角矩形 27"/>
          <p:cNvSpPr/>
          <p:nvPr/>
        </p:nvSpPr>
        <p:spPr>
          <a:xfrm>
            <a:off x="7204648" y="2810376"/>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生产数据迁移</a:t>
            </a:r>
          </a:p>
        </p:txBody>
      </p:sp>
      <p:sp>
        <p:nvSpPr>
          <p:cNvPr id="29" name="圆角矩形 28"/>
          <p:cNvSpPr/>
          <p:nvPr/>
        </p:nvSpPr>
        <p:spPr>
          <a:xfrm>
            <a:off x="3603227" y="3493448"/>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功能测试</a:t>
            </a:r>
          </a:p>
        </p:txBody>
      </p:sp>
      <p:sp>
        <p:nvSpPr>
          <p:cNvPr id="30" name="圆角矩形 29"/>
          <p:cNvSpPr/>
          <p:nvPr/>
        </p:nvSpPr>
        <p:spPr>
          <a:xfrm>
            <a:off x="4806388" y="3505232"/>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设计</a:t>
            </a:r>
          </a:p>
        </p:txBody>
      </p:sp>
      <p:sp>
        <p:nvSpPr>
          <p:cNvPr id="31" name="圆角矩形 30"/>
          <p:cNvSpPr/>
          <p:nvPr/>
        </p:nvSpPr>
        <p:spPr>
          <a:xfrm>
            <a:off x="6009549" y="3494432"/>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培训讲师</a:t>
            </a:r>
          </a:p>
        </p:txBody>
      </p:sp>
      <p:sp>
        <p:nvSpPr>
          <p:cNvPr id="32" name="圆角矩形 31"/>
          <p:cNvSpPr/>
          <p:nvPr/>
        </p:nvSpPr>
        <p:spPr>
          <a:xfrm>
            <a:off x="7212710" y="3493448"/>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系统上线</a:t>
            </a:r>
          </a:p>
        </p:txBody>
      </p:sp>
      <p:sp>
        <p:nvSpPr>
          <p:cNvPr id="33" name="圆角矩形 32"/>
          <p:cNvSpPr/>
          <p:nvPr/>
        </p:nvSpPr>
        <p:spPr>
          <a:xfrm>
            <a:off x="3604106" y="390224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测试案例和培训内容准备</a:t>
            </a:r>
          </a:p>
        </p:txBody>
      </p:sp>
      <p:sp>
        <p:nvSpPr>
          <p:cNvPr id="34" name="圆角矩形 33"/>
          <p:cNvSpPr/>
          <p:nvPr/>
        </p:nvSpPr>
        <p:spPr>
          <a:xfrm>
            <a:off x="4807267" y="391402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方案设计和构建</a:t>
            </a:r>
          </a:p>
        </p:txBody>
      </p:sp>
      <p:sp>
        <p:nvSpPr>
          <p:cNvPr id="35" name="圆角矩形 34"/>
          <p:cNvSpPr/>
          <p:nvPr/>
        </p:nvSpPr>
        <p:spPr>
          <a:xfrm>
            <a:off x="7213589" y="3902240"/>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培训讲师知识转移</a:t>
            </a:r>
          </a:p>
        </p:txBody>
      </p:sp>
      <p:sp>
        <p:nvSpPr>
          <p:cNvPr id="36" name="圆角矩形 35"/>
          <p:cNvSpPr/>
          <p:nvPr/>
        </p:nvSpPr>
        <p:spPr>
          <a:xfrm>
            <a:off x="7212710" y="4357504"/>
            <a:ext cx="1081216" cy="360000"/>
          </a:xfrm>
          <a:prstGeom prst="roundRect">
            <a:avLst/>
          </a:prstGeom>
          <a:solidFill>
            <a:srgbClr val="FFFFFF">
              <a:lumMod val="85000"/>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smtClean="0">
                <a:ln>
                  <a:noFill/>
                </a:ln>
                <a:solidFill>
                  <a:srgbClr val="000000"/>
                </a:solidFill>
                <a:effectLst/>
                <a:uLnTx/>
                <a:uFillTx/>
                <a:latin typeface="微软雅黑" panose="020B0503020204020204" pitchFamily="34" charset="-122"/>
                <a:ea typeface="微软雅黑" panose="020B0503020204020204" pitchFamily="34" charset="-122"/>
                <a:cs typeface="Arial"/>
              </a:rPr>
              <a:t>运维支持</a:t>
            </a:r>
          </a:p>
        </p:txBody>
      </p:sp>
      <p:sp>
        <p:nvSpPr>
          <p:cNvPr id="37" name="弧形 36"/>
          <p:cNvSpPr/>
          <p:nvPr/>
        </p:nvSpPr>
        <p:spPr>
          <a:xfrm flipH="1">
            <a:off x="4469787" y="3092704"/>
            <a:ext cx="550279" cy="449496"/>
          </a:xfrm>
          <a:prstGeom prst="arc">
            <a:avLst>
              <a:gd name="adj1" fmla="val 16200000"/>
              <a:gd name="adj2" fmla="val 13733953"/>
            </a:avLst>
          </a:prstGeom>
          <a:noFill/>
          <a:ln w="9525" cap="flat" cmpd="sng" algn="ctr">
            <a:solidFill>
              <a:schemeClr val="accent2">
                <a:lumMod val="40000"/>
                <a:lumOff val="60000"/>
              </a:schemeClr>
            </a:solidFill>
            <a:prstDash val="solid"/>
            <a:tailEnd type="triangle"/>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rgbClr val="000000"/>
              </a:solidFill>
              <a:effectLst/>
              <a:uLnTx/>
              <a:uFillTx/>
              <a:latin typeface="微软雅黑" panose="020B0503020204020204" pitchFamily="34" charset="-122"/>
              <a:ea typeface="微软雅黑" panose="020B0503020204020204" pitchFamily="34" charset="-122"/>
              <a:cs typeface="Arial"/>
            </a:endParaRPr>
          </a:p>
        </p:txBody>
      </p:sp>
      <p:sp>
        <p:nvSpPr>
          <p:cNvPr id="38" name="文本框 37"/>
          <p:cNvSpPr txBox="1"/>
          <p:nvPr/>
        </p:nvSpPr>
        <p:spPr>
          <a:xfrm>
            <a:off x="4528579" y="3133168"/>
            <a:ext cx="511709" cy="400110"/>
          </a:xfrm>
          <a:prstGeom prst="rect">
            <a:avLst/>
          </a:prstGeom>
          <a:noFill/>
        </p:spPr>
        <p:txBody>
          <a:bodyPr wrap="square" rtlCol="0">
            <a:spAutoFit/>
          </a:bodyPr>
          <a:lstStyle/>
          <a:p>
            <a:pPr algn="l" defTabSz="914400" fontAlgn="auto">
              <a:spcBef>
                <a:spcPts val="0"/>
              </a:spcBef>
              <a:spcAft>
                <a:spcPts val="0"/>
              </a:spcAft>
            </a:pPr>
            <a:r>
              <a:rPr lang="zh-CN" altLang="en-US" sz="1000" b="0" dirty="0" smtClean="0">
                <a:solidFill>
                  <a:srgbClr val="000000"/>
                </a:solidFill>
                <a:latin typeface="微软雅黑" panose="020B0503020204020204" pitchFamily="34" charset="-122"/>
                <a:ea typeface="微软雅黑" panose="020B0503020204020204" pitchFamily="34" charset="-122"/>
              </a:rPr>
              <a:t>迭代方案</a:t>
            </a:r>
            <a:endParaRPr lang="zh-CN" altLang="en-US" sz="1000" b="0" dirty="0">
              <a:solidFill>
                <a:srgbClr val="000000"/>
              </a:solidFill>
              <a:latin typeface="微软雅黑" panose="020B0503020204020204" pitchFamily="34" charset="-122"/>
              <a:ea typeface="微软雅黑" panose="020B0503020204020204" pitchFamily="34" charset="-122"/>
            </a:endParaRPr>
          </a:p>
        </p:txBody>
      </p:sp>
      <p:sp>
        <p:nvSpPr>
          <p:cNvPr id="39" name="燕尾形 38"/>
          <p:cNvSpPr/>
          <p:nvPr/>
        </p:nvSpPr>
        <p:spPr>
          <a:xfrm>
            <a:off x="1233939" y="916174"/>
            <a:ext cx="787575" cy="404899"/>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诊断</a:t>
            </a:r>
          </a:p>
        </p:txBody>
      </p:sp>
      <p:sp>
        <p:nvSpPr>
          <p:cNvPr id="40" name="燕尾形 39"/>
          <p:cNvSpPr/>
          <p:nvPr/>
        </p:nvSpPr>
        <p:spPr>
          <a:xfrm>
            <a:off x="1922802" y="914748"/>
            <a:ext cx="787575" cy="40775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启动</a:t>
            </a:r>
          </a:p>
        </p:txBody>
      </p:sp>
      <p:sp>
        <p:nvSpPr>
          <p:cNvPr id="41" name="燕尾形 40"/>
          <p:cNvSpPr/>
          <p:nvPr/>
        </p:nvSpPr>
        <p:spPr>
          <a:xfrm>
            <a:off x="2611665" y="902623"/>
            <a:ext cx="3132256"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迭代执行</a:t>
            </a:r>
            <a:endPar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分析、设计、开发、测试、回顾）</a:t>
            </a:r>
          </a:p>
        </p:txBody>
      </p:sp>
      <p:sp>
        <p:nvSpPr>
          <p:cNvPr id="42" name="燕尾形 41"/>
          <p:cNvSpPr/>
          <p:nvPr/>
        </p:nvSpPr>
        <p:spPr>
          <a:xfrm>
            <a:off x="5645209" y="902623"/>
            <a:ext cx="963455"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系统稳定</a:t>
            </a:r>
          </a:p>
        </p:txBody>
      </p:sp>
      <p:sp>
        <p:nvSpPr>
          <p:cNvPr id="43" name="燕尾形 42"/>
          <p:cNvSpPr/>
          <p:nvPr/>
        </p:nvSpPr>
        <p:spPr>
          <a:xfrm>
            <a:off x="6509952" y="902623"/>
            <a:ext cx="1020982" cy="4320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部署</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运作</a:t>
            </a:r>
          </a:p>
        </p:txBody>
      </p:sp>
      <p:sp>
        <p:nvSpPr>
          <p:cNvPr id="44" name="燕尾形 43"/>
          <p:cNvSpPr/>
          <p:nvPr/>
        </p:nvSpPr>
        <p:spPr>
          <a:xfrm>
            <a:off x="1346439" y="4780143"/>
            <a:ext cx="765517" cy="272987"/>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诊断</a:t>
            </a:r>
          </a:p>
        </p:txBody>
      </p:sp>
      <p:sp>
        <p:nvSpPr>
          <p:cNvPr id="45" name="燕尾形 44"/>
          <p:cNvSpPr/>
          <p:nvPr/>
        </p:nvSpPr>
        <p:spPr>
          <a:xfrm>
            <a:off x="2181815"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启动</a:t>
            </a:r>
          </a:p>
        </p:txBody>
      </p:sp>
      <p:sp>
        <p:nvSpPr>
          <p:cNvPr id="46" name="燕尾形 45"/>
          <p:cNvSpPr/>
          <p:nvPr/>
        </p:nvSpPr>
        <p:spPr>
          <a:xfrm>
            <a:off x="4754117"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开发</a:t>
            </a:r>
          </a:p>
        </p:txBody>
      </p:sp>
      <p:sp>
        <p:nvSpPr>
          <p:cNvPr id="47" name="燕尾形 46"/>
          <p:cNvSpPr/>
          <p:nvPr/>
        </p:nvSpPr>
        <p:spPr>
          <a:xfrm>
            <a:off x="5611551" y="4779836"/>
            <a:ext cx="125870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测试</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稳定</a:t>
            </a:r>
          </a:p>
        </p:txBody>
      </p:sp>
      <p:sp>
        <p:nvSpPr>
          <p:cNvPr id="48" name="燕尾形 47"/>
          <p:cNvSpPr/>
          <p:nvPr/>
        </p:nvSpPr>
        <p:spPr>
          <a:xfrm>
            <a:off x="6940116" y="4779836"/>
            <a:ext cx="1353810"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部署</a:t>
            </a:r>
            <a:r>
              <a:rPr kumimoji="0" lang="en-US" altLang="zh-CN"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a:t>
            </a: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运作</a:t>
            </a:r>
          </a:p>
        </p:txBody>
      </p:sp>
      <p:sp>
        <p:nvSpPr>
          <p:cNvPr id="49" name="燕尾形 48"/>
          <p:cNvSpPr/>
          <p:nvPr/>
        </p:nvSpPr>
        <p:spPr>
          <a:xfrm>
            <a:off x="3896683"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设计</a:t>
            </a:r>
          </a:p>
        </p:txBody>
      </p:sp>
      <p:sp>
        <p:nvSpPr>
          <p:cNvPr id="50" name="燕尾形 49"/>
          <p:cNvSpPr/>
          <p:nvPr/>
        </p:nvSpPr>
        <p:spPr>
          <a:xfrm>
            <a:off x="3039249" y="4779836"/>
            <a:ext cx="787575" cy="273600"/>
          </a:xfrm>
          <a:prstGeom prst="chevron">
            <a:avLst/>
          </a:prstGeom>
          <a:solidFill>
            <a:schemeClr val="accent2">
              <a:lumMod val="40000"/>
              <a:lumOff val="60000"/>
            </a:scheme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a:rPr>
              <a:t>分析</a:t>
            </a:r>
          </a:p>
        </p:txBody>
      </p:sp>
      <p:sp>
        <p:nvSpPr>
          <p:cNvPr id="51" name="矩形 50"/>
          <p:cNvSpPr/>
          <p:nvPr/>
        </p:nvSpPr>
        <p:spPr>
          <a:xfrm>
            <a:off x="5548144" y="550818"/>
            <a:ext cx="3595856" cy="307777"/>
          </a:xfrm>
          <a:prstGeom prst="rect">
            <a:avLst/>
          </a:prstGeom>
        </p:spPr>
        <p:txBody>
          <a:bodyPr wrap="none">
            <a:spAutoFit/>
          </a:bodyPr>
          <a:lstStyle/>
          <a:p>
            <a:pPr algn="l"/>
            <a:r>
              <a:rPr lang="zh-CN" altLang="zh-CN" kern="1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我司采用</a:t>
            </a:r>
            <a:r>
              <a:rPr lang="en-US" altLang="zh-CN" b="1" kern="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Jira</a:t>
            </a:r>
            <a:r>
              <a:rPr lang="zh-CN" altLang="zh-CN" kern="1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对项目全过程进行规范化管理</a:t>
            </a:r>
            <a:endParaRPr lang="zh-CN" altLang="en-US"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459954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目录</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1</a:t>
            </a:fld>
            <a:endParaRPr lang="en-US"/>
          </a:p>
        </p:txBody>
      </p:sp>
      <p:sp>
        <p:nvSpPr>
          <p:cNvPr id="5" name="文本框 4"/>
          <p:cNvSpPr txBox="1"/>
          <p:nvPr/>
        </p:nvSpPr>
        <p:spPr>
          <a:xfrm>
            <a:off x="393793" y="714167"/>
            <a:ext cx="7468712" cy="2554545"/>
          </a:xfrm>
          <a:prstGeom prst="rect">
            <a:avLst/>
          </a:prstGeom>
          <a:noFill/>
        </p:spPr>
        <p:txBody>
          <a:bodyPr wrap="square" rtlCol="0">
            <a:spAutoFit/>
          </a:bodyPr>
          <a:lstStyle/>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公司简介</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项目团队介绍</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总体设计</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系统部署设计</a:t>
            </a:r>
            <a:endParaRPr lang="en-US" altLang="zh-CN" sz="1600" dirty="0" smtClean="0">
              <a:solidFill>
                <a:schemeClr val="tx1"/>
              </a:solidFill>
              <a:latin typeface="Verdana" pitchFamily="34" charset="0"/>
              <a:ea typeface="Verdana" pitchFamily="34" charset="0"/>
              <a:cs typeface="Verdana" pitchFamily="34" charset="0"/>
            </a:endParaRPr>
          </a:p>
          <a:p>
            <a:pPr marL="228600" indent="-228600" algn="l">
              <a:lnSpc>
                <a:spcPct val="200000"/>
              </a:lnSpc>
              <a:buFont typeface="+mj-lt"/>
              <a:buAutoNum type="arabicPeriod"/>
            </a:pPr>
            <a:r>
              <a:rPr lang="zh-CN" altLang="en-US" sz="1600" dirty="0" smtClean="0">
                <a:solidFill>
                  <a:schemeClr val="tx1"/>
                </a:solidFill>
                <a:latin typeface="Verdana" pitchFamily="34" charset="0"/>
                <a:ea typeface="Verdana" pitchFamily="34" charset="0"/>
                <a:cs typeface="Verdana" pitchFamily="34" charset="0"/>
              </a:rPr>
              <a:t>项目实施过程</a:t>
            </a:r>
            <a:endParaRPr lang="en-US" altLang="zh-CN" sz="1600" dirty="0" smtClean="0">
              <a:solidFill>
                <a:schemeClr val="tx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9320409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smtClean="0">
                <a:latin typeface="微软雅黑" pitchFamily="34" charset="-122"/>
                <a:ea typeface="微软雅黑" pitchFamily="34" charset="-122"/>
              </a:rPr>
              <a:t>1.</a:t>
            </a:r>
            <a:r>
              <a:rPr lang="zh-CN" altLang="en-US" dirty="0" smtClean="0">
                <a:latin typeface="微软雅黑" pitchFamily="34" charset="-122"/>
                <a:ea typeface="微软雅黑" pitchFamily="34" charset="-122"/>
              </a:rPr>
              <a:t>公司简介</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2</a:t>
            </a:fld>
            <a:endParaRPr lang="en-US" dirty="0"/>
          </a:p>
        </p:txBody>
      </p:sp>
      <p:sp>
        <p:nvSpPr>
          <p:cNvPr id="6" name="矩形 5"/>
          <p:cNvSpPr/>
          <p:nvPr/>
        </p:nvSpPr>
        <p:spPr>
          <a:xfrm>
            <a:off x="323854" y="671279"/>
            <a:ext cx="7138184" cy="830997"/>
          </a:xfrm>
          <a:prstGeom prst="rect">
            <a:avLst/>
          </a:prstGeom>
        </p:spPr>
        <p:txBody>
          <a:bodyPr wrap="square">
            <a:spAutoFit/>
          </a:bodyPr>
          <a:lstStyle/>
          <a:p>
            <a:pPr algn="l" defTabSz="914400" fontAlgn="auto">
              <a:lnSpc>
                <a:spcPct val="150000"/>
              </a:lnSpc>
              <a:spcBef>
                <a:spcPts val="0"/>
              </a:spcBef>
              <a:spcAft>
                <a:spcPts val="0"/>
              </a:spcAft>
            </a:pPr>
            <a:r>
              <a:rPr lang="zh-CN" altLang="en-US" sz="1600" dirty="0" smtClean="0">
                <a:solidFill>
                  <a:prstClr val="black"/>
                </a:solidFill>
                <a:latin typeface="Arial"/>
                <a:ea typeface="微软雅黑"/>
              </a:rPr>
              <a:t>杭州</a:t>
            </a:r>
            <a:r>
              <a:rPr lang="zh-CN" altLang="en-US" sz="1600" dirty="0">
                <a:solidFill>
                  <a:prstClr val="black"/>
                </a:solidFill>
                <a:latin typeface="Arial"/>
                <a:ea typeface="微软雅黑"/>
              </a:rPr>
              <a:t>协新信息科技有限公司</a:t>
            </a:r>
            <a:r>
              <a:rPr lang="zh-CN" altLang="en-US" sz="1600" b="0" dirty="0" smtClean="0">
                <a:solidFill>
                  <a:prstClr val="black"/>
                </a:solidFill>
                <a:latin typeface="Arial"/>
                <a:ea typeface="微软雅黑"/>
              </a:rPr>
              <a:t>，</a:t>
            </a:r>
            <a:r>
              <a:rPr lang="zh-CN" altLang="en-US" sz="1600" b="0" dirty="0">
                <a:solidFill>
                  <a:prstClr val="black"/>
                </a:solidFill>
                <a:latin typeface="Arial"/>
                <a:ea typeface="微软雅黑"/>
              </a:rPr>
              <a:t>致力于</a:t>
            </a:r>
            <a:r>
              <a:rPr lang="zh-CN" altLang="en-US" sz="1600" b="0" dirty="0" smtClean="0">
                <a:solidFill>
                  <a:prstClr val="black"/>
                </a:solidFill>
                <a:latin typeface="Arial"/>
                <a:ea typeface="微软雅黑"/>
              </a:rPr>
              <a:t>为国内高校和企业提供</a:t>
            </a:r>
            <a:r>
              <a:rPr lang="en-US" altLang="zh-CN" sz="1600" b="0" dirty="0" smtClean="0">
                <a:solidFill>
                  <a:prstClr val="black"/>
                </a:solidFill>
                <a:latin typeface="Arial"/>
                <a:ea typeface="微软雅黑"/>
              </a:rPr>
              <a:t>IT</a:t>
            </a:r>
            <a:r>
              <a:rPr lang="zh-CN" altLang="en-US" sz="1600" b="0" dirty="0" smtClean="0">
                <a:solidFill>
                  <a:prstClr val="black"/>
                </a:solidFill>
                <a:latin typeface="Arial"/>
                <a:ea typeface="微软雅黑"/>
              </a:rPr>
              <a:t>服务全</a:t>
            </a:r>
            <a:r>
              <a:rPr lang="zh-CN" altLang="en-US" sz="1600" b="0" dirty="0">
                <a:solidFill>
                  <a:prstClr val="black"/>
                </a:solidFill>
                <a:latin typeface="Arial"/>
                <a:ea typeface="微软雅黑"/>
              </a:rPr>
              <a:t>流程专业</a:t>
            </a:r>
            <a:r>
              <a:rPr lang="zh-CN" altLang="en-US" sz="1600" b="0" dirty="0" smtClean="0">
                <a:solidFill>
                  <a:prstClr val="black"/>
                </a:solidFill>
                <a:latin typeface="Arial"/>
                <a:ea typeface="微软雅黑"/>
              </a:rPr>
              <a:t>咨询、应用</a:t>
            </a:r>
            <a:r>
              <a:rPr lang="zh-CN" altLang="en-US" sz="1600" b="0" dirty="0">
                <a:solidFill>
                  <a:prstClr val="black"/>
                </a:solidFill>
                <a:latin typeface="Arial"/>
                <a:ea typeface="微软雅黑"/>
              </a:rPr>
              <a:t>系统解决方案和</a:t>
            </a:r>
            <a:r>
              <a:rPr lang="zh-CN" altLang="en-US" sz="1600" b="0" dirty="0" smtClean="0">
                <a:solidFill>
                  <a:prstClr val="black"/>
                </a:solidFill>
                <a:latin typeface="Arial"/>
                <a:ea typeface="微软雅黑"/>
              </a:rPr>
              <a:t>系统集成、数据分析</a:t>
            </a:r>
            <a:r>
              <a:rPr lang="zh-CN" altLang="en-US" sz="1600" b="0" dirty="0">
                <a:solidFill>
                  <a:prstClr val="black"/>
                </a:solidFill>
                <a:latin typeface="Arial"/>
                <a:ea typeface="微软雅黑"/>
              </a:rPr>
              <a:t>、</a:t>
            </a:r>
            <a:r>
              <a:rPr lang="zh-CN" altLang="en-US" sz="1600" b="0" dirty="0" smtClean="0">
                <a:solidFill>
                  <a:prstClr val="black"/>
                </a:solidFill>
                <a:latin typeface="Arial"/>
                <a:ea typeface="微软雅黑"/>
              </a:rPr>
              <a:t>运营</a:t>
            </a:r>
            <a:r>
              <a:rPr lang="zh-CN" altLang="en-US" sz="1600" b="0" dirty="0">
                <a:solidFill>
                  <a:prstClr val="black"/>
                </a:solidFill>
                <a:latin typeface="Arial"/>
                <a:ea typeface="微软雅黑"/>
              </a:rPr>
              <a:t>等服务。</a:t>
            </a:r>
            <a:endParaRPr lang="en-US" altLang="zh-CN" sz="1600" b="0" dirty="0">
              <a:solidFill>
                <a:prstClr val="black"/>
              </a:solidFill>
              <a:latin typeface="Arial"/>
              <a:ea typeface="微软雅黑"/>
            </a:endParaRPr>
          </a:p>
        </p:txBody>
      </p:sp>
      <p:grpSp>
        <p:nvGrpSpPr>
          <p:cNvPr id="44" name="组合 43"/>
          <p:cNvGrpSpPr/>
          <p:nvPr/>
        </p:nvGrpSpPr>
        <p:grpSpPr>
          <a:xfrm>
            <a:off x="396114" y="1469604"/>
            <a:ext cx="8159171" cy="3348218"/>
            <a:chOff x="823421" y="1772816"/>
            <a:chExt cx="10729192" cy="4860386"/>
          </a:xfrm>
        </p:grpSpPr>
        <p:sp>
          <p:nvSpPr>
            <p:cNvPr id="45" name="任意多边形 44"/>
            <p:cNvSpPr/>
            <p:nvPr/>
          </p:nvSpPr>
          <p:spPr>
            <a:xfrm>
              <a:off x="823421" y="2842506"/>
              <a:ext cx="9625075" cy="3790696"/>
            </a:xfrm>
            <a:custGeom>
              <a:avLst/>
              <a:gdLst>
                <a:gd name="connsiteX0" fmla="*/ 0 w 10523095"/>
                <a:gd name="connsiteY0" fmla="*/ 4631960 h 4631960"/>
                <a:gd name="connsiteX1" fmla="*/ 2128603 w 10523095"/>
                <a:gd name="connsiteY1" fmla="*/ 2863121 h 4631960"/>
                <a:gd name="connsiteX2" fmla="*/ 4542020 w 10523095"/>
                <a:gd name="connsiteY2" fmla="*/ 2713219 h 4631960"/>
                <a:gd name="connsiteX3" fmla="*/ 6415790 w 10523095"/>
                <a:gd name="connsiteY3" fmla="*/ 1169232 h 4631960"/>
                <a:gd name="connsiteX4" fmla="*/ 8814217 w 10523095"/>
                <a:gd name="connsiteY4" fmla="*/ 1499016 h 4631960"/>
                <a:gd name="connsiteX5" fmla="*/ 10523095 w 10523095"/>
                <a:gd name="connsiteY5" fmla="*/ 0 h 463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23095" h="4631960">
                  <a:moveTo>
                    <a:pt x="0" y="4631960"/>
                  </a:moveTo>
                  <a:cubicBezTo>
                    <a:pt x="685800" y="3907435"/>
                    <a:pt x="1371600" y="3182911"/>
                    <a:pt x="2128603" y="2863121"/>
                  </a:cubicBezTo>
                  <a:cubicBezTo>
                    <a:pt x="2885606" y="2543331"/>
                    <a:pt x="3827489" y="2995534"/>
                    <a:pt x="4542020" y="2713219"/>
                  </a:cubicBezTo>
                  <a:cubicBezTo>
                    <a:pt x="5256551" y="2430904"/>
                    <a:pt x="5703757" y="1371599"/>
                    <a:pt x="6415790" y="1169232"/>
                  </a:cubicBezTo>
                  <a:cubicBezTo>
                    <a:pt x="7127823" y="966865"/>
                    <a:pt x="8129666" y="1693888"/>
                    <a:pt x="8814217" y="1499016"/>
                  </a:cubicBezTo>
                  <a:cubicBezTo>
                    <a:pt x="9498768" y="1304144"/>
                    <a:pt x="10010931" y="652072"/>
                    <a:pt x="10523095" y="0"/>
                  </a:cubicBezTo>
                </a:path>
              </a:pathLst>
            </a:custGeom>
            <a:noFill/>
            <a:ln w="25400" cap="flat" cmpd="sng" algn="ctr">
              <a:solidFill>
                <a:srgbClr val="FF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grpSp>
          <p:nvGrpSpPr>
            <p:cNvPr id="46" name="组合 45"/>
            <p:cNvGrpSpPr/>
            <p:nvPr/>
          </p:nvGrpSpPr>
          <p:grpSpPr>
            <a:xfrm>
              <a:off x="1612559" y="5002199"/>
              <a:ext cx="988942" cy="988942"/>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9" name="椭圆 78"/>
              <p:cNvSpPr/>
              <p:nvPr/>
            </p:nvSpPr>
            <p:spPr>
              <a:xfrm>
                <a:off x="3724323" y="1908536"/>
                <a:ext cx="1329153" cy="1329153"/>
              </a:xfrm>
              <a:prstGeom prst="ellipse">
                <a:avLst/>
              </a:prstGeom>
              <a:solidFill>
                <a:srgbClr val="FF0000"/>
              </a:solidFill>
              <a:ln w="28575" cap="flat" cmpd="sng" algn="ctr">
                <a:solidFill>
                  <a:srgbClr val="FF000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80" name="椭圆 79"/>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47" name="TextBox 7"/>
            <p:cNvSpPr>
              <a:spLocks noChangeArrowheads="1"/>
            </p:cNvSpPr>
            <p:nvPr/>
          </p:nvSpPr>
          <p:spPr bwMode="auto">
            <a:xfrm>
              <a:off x="1711453" y="5355380"/>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5</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48" name="组合 47"/>
            <p:cNvGrpSpPr/>
            <p:nvPr/>
          </p:nvGrpSpPr>
          <p:grpSpPr>
            <a:xfrm>
              <a:off x="3931778" y="4664879"/>
              <a:ext cx="1140116" cy="1140116"/>
              <a:chOff x="3724324" y="1908538"/>
              <a:chExt cx="1329153" cy="1329153"/>
            </a:xfrm>
            <a:gradFill>
              <a:gsLst>
                <a:gs pos="62000">
                  <a:srgbClr val="C69135"/>
                </a:gs>
                <a:gs pos="34200">
                  <a:srgbClr val="E6D38F"/>
                </a:gs>
                <a:gs pos="0">
                  <a:srgbClr val="FCD860"/>
                </a:gs>
                <a:gs pos="100000">
                  <a:srgbClr val="F1DF97"/>
                </a:gs>
              </a:gsLst>
              <a:lin ang="12000000" scaled="0"/>
            </a:gradFill>
          </p:grpSpPr>
          <p:sp>
            <p:nvSpPr>
              <p:cNvPr id="77" name="椭圆 76"/>
              <p:cNvSpPr/>
              <p:nvPr/>
            </p:nvSpPr>
            <p:spPr>
              <a:xfrm>
                <a:off x="3724324" y="1908538"/>
                <a:ext cx="1329153" cy="1329153"/>
              </a:xfrm>
              <a:prstGeom prst="ellipse">
                <a:avLst/>
              </a:prstGeom>
              <a:solidFill>
                <a:srgbClr val="FFC000"/>
              </a:solidFill>
              <a:ln w="28575" cap="flat" cmpd="sng" algn="ctr">
                <a:solidFill>
                  <a:srgbClr val="FFC00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8" name="椭圆 77"/>
              <p:cNvSpPr/>
              <p:nvPr/>
            </p:nvSpPr>
            <p:spPr>
              <a:xfrm>
                <a:off x="3825891" y="2043145"/>
                <a:ext cx="1098121"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49" name="TextBox 7"/>
            <p:cNvSpPr>
              <a:spLocks noChangeArrowheads="1"/>
            </p:cNvSpPr>
            <p:nvPr/>
          </p:nvSpPr>
          <p:spPr bwMode="auto">
            <a:xfrm>
              <a:off x="4095614" y="5093282"/>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6</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0" name="组合 49"/>
            <p:cNvGrpSpPr/>
            <p:nvPr/>
          </p:nvGrpSpPr>
          <p:grpSpPr>
            <a:xfrm>
              <a:off x="5883151" y="3121798"/>
              <a:ext cx="1224136" cy="1224136"/>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5" name="椭圆 74"/>
              <p:cNvSpPr/>
              <p:nvPr/>
            </p:nvSpPr>
            <p:spPr>
              <a:xfrm>
                <a:off x="3724323" y="1908536"/>
                <a:ext cx="1329153" cy="1329153"/>
              </a:xfrm>
              <a:prstGeom prst="ellipse">
                <a:avLst/>
              </a:prstGeom>
              <a:solidFill>
                <a:srgbClr val="00B050"/>
              </a:solidFill>
              <a:ln w="28575" cap="flat" cmpd="sng" algn="ctr">
                <a:solidFill>
                  <a:srgbClr val="00B050"/>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6" name="椭圆 75"/>
              <p:cNvSpPr/>
              <p:nvPr/>
            </p:nvSpPr>
            <p:spPr>
              <a:xfrm>
                <a:off x="3839838" y="2024052"/>
                <a:ext cx="1098122" cy="1098122"/>
              </a:xfrm>
              <a:prstGeom prst="ellipse">
                <a:avLst/>
              </a:prstGeom>
              <a:solidFill>
                <a:srgbClr val="EEECE1">
                  <a:lumMod val="90000"/>
                </a:srgbClr>
              </a:solidFill>
              <a:ln w="25400" cap="flat" cmpd="sng" algn="ctr">
                <a:solidFill>
                  <a:srgbClr val="00B050"/>
                </a:solid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1" name="TextBox 7"/>
            <p:cNvSpPr>
              <a:spLocks noChangeArrowheads="1"/>
            </p:cNvSpPr>
            <p:nvPr/>
          </p:nvSpPr>
          <p:spPr bwMode="auto">
            <a:xfrm>
              <a:off x="6080006" y="3645026"/>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7</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2" name="组合 51"/>
            <p:cNvGrpSpPr/>
            <p:nvPr/>
          </p:nvGrpSpPr>
          <p:grpSpPr>
            <a:xfrm>
              <a:off x="8240245" y="3284984"/>
              <a:ext cx="1296144" cy="1296144"/>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3" name="椭圆 72"/>
              <p:cNvSpPr/>
              <p:nvPr/>
            </p:nvSpPr>
            <p:spPr>
              <a:xfrm>
                <a:off x="3724323" y="1908536"/>
                <a:ext cx="1329153" cy="1329153"/>
              </a:xfrm>
              <a:prstGeom prst="ellipse">
                <a:avLst/>
              </a:prstGeom>
              <a:solidFill>
                <a:srgbClr val="C0504D">
                  <a:lumMod val="75000"/>
                </a:srgbClr>
              </a:solidFill>
              <a:ln w="28575" cap="flat" cmpd="sng" algn="ctr">
                <a:solidFill>
                  <a:srgbClr val="C0504D">
                    <a:lumMod val="75000"/>
                  </a:srgbClr>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4" name="椭圆 73"/>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3" name="TextBox 7"/>
            <p:cNvSpPr>
              <a:spLocks noChangeArrowheads="1"/>
            </p:cNvSpPr>
            <p:nvPr/>
          </p:nvSpPr>
          <p:spPr bwMode="auto">
            <a:xfrm>
              <a:off x="8516264" y="3789041"/>
              <a:ext cx="80410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2018</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grpSp>
          <p:nvGrpSpPr>
            <p:cNvPr id="54" name="组合 53"/>
            <p:cNvGrpSpPr/>
            <p:nvPr/>
          </p:nvGrpSpPr>
          <p:grpSpPr>
            <a:xfrm>
              <a:off x="9915599" y="1772816"/>
              <a:ext cx="1348982" cy="1348982"/>
              <a:chOff x="3724323" y="1908536"/>
              <a:chExt cx="1329153" cy="1329153"/>
            </a:xfrm>
            <a:gradFill>
              <a:gsLst>
                <a:gs pos="62000">
                  <a:srgbClr val="C69135"/>
                </a:gs>
                <a:gs pos="34200">
                  <a:srgbClr val="E6D38F"/>
                </a:gs>
                <a:gs pos="0">
                  <a:srgbClr val="FCD860"/>
                </a:gs>
                <a:gs pos="100000">
                  <a:srgbClr val="F1DF97"/>
                </a:gs>
              </a:gsLst>
              <a:lin ang="12000000" scaled="0"/>
            </a:gradFill>
          </p:grpSpPr>
          <p:sp>
            <p:nvSpPr>
              <p:cNvPr id="71" name="椭圆 70"/>
              <p:cNvSpPr/>
              <p:nvPr/>
            </p:nvSpPr>
            <p:spPr>
              <a:xfrm>
                <a:off x="3724323" y="1908536"/>
                <a:ext cx="1329153" cy="1329153"/>
              </a:xfrm>
              <a:prstGeom prst="ellipse">
                <a:avLst/>
              </a:prstGeom>
              <a:solidFill>
                <a:srgbClr val="F79646">
                  <a:lumMod val="75000"/>
                </a:srgbClr>
              </a:solidFill>
              <a:ln w="28575" cap="flat" cmpd="sng" algn="ctr">
                <a:solidFill>
                  <a:srgbClr val="F79646">
                    <a:lumMod val="75000"/>
                  </a:srgbClr>
                </a:solidFill>
                <a:prstDash val="solid"/>
              </a:ln>
              <a:effectLst>
                <a:outerShdw blurRad="279400" dist="88900" dir="8100000" algn="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72" name="椭圆 71"/>
              <p:cNvSpPr/>
              <p:nvPr/>
            </p:nvSpPr>
            <p:spPr>
              <a:xfrm>
                <a:off x="3839838" y="2024052"/>
                <a:ext cx="1098122" cy="1098122"/>
              </a:xfrm>
              <a:prstGeom prst="ellipse">
                <a:avLst/>
              </a:prstGeom>
              <a:solidFill>
                <a:srgbClr val="EEECE1">
                  <a:lumMod val="90000"/>
                </a:srgbClr>
              </a:solidFill>
              <a:ln w="25400" cap="flat" cmpd="sng" algn="ctr">
                <a:noFill/>
                <a:prstDash val="solid"/>
              </a:ln>
              <a:effectLst>
                <a:innerShdw blurRad="63500" dist="50800" dir="18900000">
                  <a:prstClr val="black">
                    <a:alpha val="50000"/>
                  </a:prstClr>
                </a:inn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70C0"/>
                  </a:solidFill>
                  <a:effectLst/>
                  <a:uLnTx/>
                  <a:uFillTx/>
                  <a:latin typeface="Arial"/>
                  <a:ea typeface="微软雅黑"/>
                  <a:cs typeface="+mn-cs"/>
                </a:endParaRPr>
              </a:p>
            </p:txBody>
          </p:sp>
        </p:grpSp>
        <p:sp>
          <p:nvSpPr>
            <p:cNvPr id="55" name="TextBox 7"/>
            <p:cNvSpPr>
              <a:spLocks noChangeArrowheads="1"/>
            </p:cNvSpPr>
            <p:nvPr/>
          </p:nvSpPr>
          <p:spPr bwMode="auto">
            <a:xfrm>
              <a:off x="10117269" y="2359913"/>
              <a:ext cx="962880" cy="2680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rPr>
                <a:t>未来</a:t>
              </a:r>
              <a:endParaRPr kumimoji="0" lang="zh-CN" altLang="en-US" sz="1200" b="0" i="0" u="none" strike="noStrike" kern="0" cap="none" spc="0" normalizeH="0" baseline="0" noProof="0" dirty="0">
                <a:ln>
                  <a:noFill/>
                </a:ln>
                <a:solidFill>
                  <a:prstClr val="black"/>
                </a:solidFill>
                <a:effectLst/>
                <a:uLnTx/>
                <a:uFillTx/>
                <a:latin typeface="Impact MT Std" pitchFamily="34" charset="0"/>
                <a:ea typeface="微软雅黑" panose="020B0503020204020204" pitchFamily="34" charset="-122"/>
                <a:sym typeface="微软雅黑" panose="020B0503020204020204" pitchFamily="34" charset="-122"/>
              </a:endParaRPr>
            </a:p>
          </p:txBody>
        </p:sp>
        <p:sp>
          <p:nvSpPr>
            <p:cNvPr id="56" name="TextBox 7"/>
            <p:cNvSpPr>
              <a:spLocks noChangeArrowheads="1"/>
            </p:cNvSpPr>
            <p:nvPr/>
          </p:nvSpPr>
          <p:spPr bwMode="auto">
            <a:xfrm>
              <a:off x="1363447" y="3733528"/>
              <a:ext cx="122413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公司成立</a:t>
              </a:r>
              <a:endParaRPr kumimoji="0" lang="zh-CN" altLang="en-US" b="0"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7" name="圆角矩形 56"/>
            <p:cNvSpPr/>
            <p:nvPr/>
          </p:nvSpPr>
          <p:spPr>
            <a:xfrm>
              <a:off x="1152239" y="3653893"/>
              <a:ext cx="1646552" cy="467045"/>
            </a:xfrm>
            <a:prstGeom prst="roundRect">
              <a:avLst>
                <a:gd name="adj" fmla="val 50000"/>
              </a:avLst>
            </a:prstGeom>
            <a:noFill/>
            <a:ln w="25400" cap="flat" cmpd="sng" algn="ctr">
              <a:solidFill>
                <a:srgbClr val="FF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58" name="文本框 49"/>
            <p:cNvSpPr txBox="1"/>
            <p:nvPr/>
          </p:nvSpPr>
          <p:spPr>
            <a:xfrm>
              <a:off x="1077957" y="4207307"/>
              <a:ext cx="1917716" cy="938236"/>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积累项目管理与实施经验，奠定坚实基础</a:t>
              </a:r>
            </a:p>
          </p:txBody>
        </p:sp>
        <p:sp>
          <p:nvSpPr>
            <p:cNvPr id="59" name="TextBox 7"/>
            <p:cNvSpPr>
              <a:spLocks noChangeArrowheads="1"/>
            </p:cNvSpPr>
            <p:nvPr/>
          </p:nvSpPr>
          <p:spPr bwMode="auto">
            <a:xfrm>
              <a:off x="3507908" y="3284984"/>
              <a:ext cx="165414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FC000"/>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专注高校领域</a:t>
              </a:r>
              <a:endParaRPr kumimoji="0" lang="zh-CN" altLang="en-US" b="0" i="0" u="none" strike="noStrike" kern="0" cap="none" spc="0" normalizeH="0" baseline="0" noProof="0" dirty="0">
                <a:ln>
                  <a:noFill/>
                </a:ln>
                <a:solidFill>
                  <a:srgbClr val="FFC00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0" name="圆角矩形 59"/>
            <p:cNvSpPr/>
            <p:nvPr/>
          </p:nvSpPr>
          <p:spPr>
            <a:xfrm>
              <a:off x="3425340" y="3200881"/>
              <a:ext cx="1838579" cy="467045"/>
            </a:xfrm>
            <a:prstGeom prst="roundRect">
              <a:avLst>
                <a:gd name="adj" fmla="val 50000"/>
              </a:avLst>
            </a:prstGeom>
            <a:noFill/>
            <a:ln w="25400" cap="flat" cmpd="sng" algn="ctr">
              <a:solidFill>
                <a:srgbClr val="FFC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FFC000"/>
                </a:solidFill>
                <a:effectLst/>
                <a:uLnTx/>
                <a:uFillTx/>
                <a:latin typeface="Arial"/>
                <a:ea typeface="微软雅黑"/>
                <a:cs typeface="+mn-cs"/>
              </a:endParaRPr>
            </a:p>
          </p:txBody>
        </p:sp>
        <p:sp>
          <p:nvSpPr>
            <p:cNvPr id="61" name="文本框 49"/>
            <p:cNvSpPr txBox="1"/>
            <p:nvPr/>
          </p:nvSpPr>
          <p:spPr>
            <a:xfrm>
              <a:off x="3365345" y="3733527"/>
              <a:ext cx="1984696" cy="938236"/>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专注于为</a:t>
              </a:r>
              <a:r>
                <a:rPr lang="zh-CN" altLang="en-US" sz="1200" b="0" kern="0" dirty="0" smtClean="0">
                  <a:solidFill>
                    <a:prstClr val="black"/>
                  </a:solidFill>
                  <a:latin typeface="微软雅黑" panose="020B0503020204020204" pitchFamily="34" charset="-122"/>
                  <a:ea typeface="微软雅黑" panose="020B0503020204020204" pitchFamily="34" charset="-122"/>
                </a:rPr>
                <a:t>高校</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提供专业的</a:t>
              </a:r>
              <a:r>
                <a:rPr kumimoji="0" lang="en-US" altLang="zh-CN"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IT</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产品和服务</a:t>
              </a:r>
            </a:p>
          </p:txBody>
        </p:sp>
        <p:sp>
          <p:nvSpPr>
            <p:cNvPr id="62" name="TextBox 7"/>
            <p:cNvSpPr>
              <a:spLocks noChangeArrowheads="1"/>
            </p:cNvSpPr>
            <p:nvPr/>
          </p:nvSpPr>
          <p:spPr bwMode="auto">
            <a:xfrm>
              <a:off x="5601586" y="4632719"/>
              <a:ext cx="2371448"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b="0" kern="0" noProof="0" dirty="0" err="1" smtClean="0">
                  <a:solidFill>
                    <a:srgbClr val="00B050"/>
                  </a:solidFill>
                  <a:latin typeface="微软雅黑" panose="020B0503020204020204" pitchFamily="34" charset="-122"/>
                  <a:ea typeface="微软雅黑" panose="020B0503020204020204" pitchFamily="34" charset="-122"/>
                  <a:sym typeface="微软雅黑" panose="020B0503020204020204" pitchFamily="34" charset="-122"/>
                </a:rPr>
                <a:t>Xcloud</a:t>
              </a:r>
              <a:r>
                <a:rPr lang="zh-CN" altLang="en-US" b="0" kern="0" noProof="0" dirty="0" smtClean="0">
                  <a:solidFill>
                    <a:srgbClr val="00B050"/>
                  </a:solidFill>
                  <a:latin typeface="微软雅黑" panose="020B0503020204020204" pitchFamily="34" charset="-122"/>
                  <a:ea typeface="微软雅黑" panose="020B0503020204020204" pitchFamily="34" charset="-122"/>
                  <a:sym typeface="微软雅黑" panose="020B0503020204020204" pitchFamily="34" charset="-122"/>
                </a:rPr>
                <a:t>平台研发</a:t>
              </a:r>
              <a:endParaRPr kumimoji="0" lang="zh-CN" altLang="en-US" b="0" i="0" u="none" strike="noStrike" kern="0" cap="none" spc="0" normalizeH="0" baseline="0" noProof="0" dirty="0">
                <a:ln>
                  <a:noFill/>
                </a:ln>
                <a:solidFill>
                  <a:srgbClr val="00B050"/>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3" name="圆角矩形 62"/>
            <p:cNvSpPr/>
            <p:nvPr/>
          </p:nvSpPr>
          <p:spPr>
            <a:xfrm>
              <a:off x="5593990" y="4565752"/>
              <a:ext cx="2276585" cy="467046"/>
            </a:xfrm>
            <a:prstGeom prst="roundRect">
              <a:avLst>
                <a:gd name="adj" fmla="val 50000"/>
              </a:avLst>
            </a:prstGeom>
            <a:noFill/>
            <a:ln w="25400" cap="flat" cmpd="sng" algn="ctr">
              <a:solidFill>
                <a:srgbClr val="00B05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64" name="文本框 49"/>
            <p:cNvSpPr txBox="1"/>
            <p:nvPr/>
          </p:nvSpPr>
          <p:spPr>
            <a:xfrm>
              <a:off x="5883151" y="5145543"/>
              <a:ext cx="1748768" cy="402101"/>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lang="en-US" altLang="zh-CN" sz="1200" b="0" kern="0" dirty="0" err="1" smtClean="0">
                  <a:solidFill>
                    <a:prstClr val="black"/>
                  </a:solidFill>
                  <a:latin typeface="微软雅黑" panose="020B0503020204020204" pitchFamily="34" charset="-122"/>
                  <a:ea typeface="微软雅黑" panose="020B0503020204020204" pitchFamily="34" charset="-122"/>
                </a:rPr>
                <a:t>XCloud</a:t>
              </a:r>
              <a:r>
                <a:rPr lang="zh-CN" altLang="en-US" sz="1200" b="0" kern="0" dirty="0" smtClean="0">
                  <a:solidFill>
                    <a:prstClr val="black"/>
                  </a:solidFill>
                  <a:latin typeface="微软雅黑" panose="020B0503020204020204" pitchFamily="34" charset="-122"/>
                  <a:ea typeface="微软雅黑" panose="020B0503020204020204" pitchFamily="34" charset="-122"/>
                </a:rPr>
                <a:t>平台开发</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5" name="TextBox 7"/>
            <p:cNvSpPr>
              <a:spLocks noChangeArrowheads="1"/>
            </p:cNvSpPr>
            <p:nvPr/>
          </p:nvSpPr>
          <p:spPr bwMode="auto">
            <a:xfrm>
              <a:off x="8244290" y="5069669"/>
              <a:ext cx="152565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b="0" kern="0" dirty="0" smtClean="0">
                  <a:solidFill>
                    <a:srgbClr val="C0504D">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SaaS</a:t>
              </a:r>
              <a:r>
                <a:rPr lang="zh-CN" altLang="en-US" b="0" kern="0" dirty="0" smtClean="0">
                  <a:solidFill>
                    <a:srgbClr val="C0504D">
                      <a:lumMod val="75000"/>
                    </a:srgbClr>
                  </a:solidFill>
                  <a:latin typeface="微软雅黑" panose="020B0503020204020204" pitchFamily="34" charset="-122"/>
                  <a:ea typeface="微软雅黑" panose="020B0503020204020204" pitchFamily="34" charset="-122"/>
                  <a:sym typeface="微软雅黑" panose="020B0503020204020204" pitchFamily="34" charset="-122"/>
                </a:rPr>
                <a:t>模式</a:t>
              </a:r>
              <a:endParaRPr kumimoji="0" lang="zh-CN" altLang="en-US" b="0" i="0" u="none" strike="noStrike" kern="0" cap="none" spc="0" normalizeH="0" baseline="0" noProof="0" dirty="0">
                <a:ln>
                  <a:noFill/>
                </a:ln>
                <a:solidFill>
                  <a:srgbClr val="C0504D">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6" name="圆角矩形 65"/>
            <p:cNvSpPr/>
            <p:nvPr/>
          </p:nvSpPr>
          <p:spPr>
            <a:xfrm>
              <a:off x="8051385" y="4972538"/>
              <a:ext cx="1910109" cy="467044"/>
            </a:xfrm>
            <a:prstGeom prst="roundRect">
              <a:avLst>
                <a:gd name="adj" fmla="val 50000"/>
              </a:avLst>
            </a:prstGeom>
            <a:noFill/>
            <a:ln w="25400" cap="flat" cmpd="sng" algn="ctr">
              <a:solidFill>
                <a:srgbClr val="C0504D">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sp>
          <p:nvSpPr>
            <p:cNvPr id="67" name="文本框 49"/>
            <p:cNvSpPr txBox="1"/>
            <p:nvPr/>
          </p:nvSpPr>
          <p:spPr>
            <a:xfrm>
              <a:off x="8006695" y="5468214"/>
              <a:ext cx="2093048" cy="670168"/>
            </a:xfrm>
            <a:prstGeom prst="rect">
              <a:avLst/>
            </a:prstGeom>
            <a:noFill/>
            <a:effectLst/>
          </p:spPr>
          <p:txBody>
            <a:bodyPr wrap="square" rtlCol="0">
              <a:spAutoFit/>
            </a:bodyPr>
            <a:lstStyle/>
            <a:p>
              <a:pPr marL="0" marR="0" lvl="0" indent="0" algn="just" defTabSz="914400" eaLnBrk="1" fontAlgn="auto" latinLnBrk="0" hangingPunct="1">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基于</a:t>
              </a:r>
              <a:r>
                <a:rPr kumimoji="0" lang="en-US" altLang="zh-CN" sz="1200" b="0" i="0" u="none" strike="noStrike" kern="0" cap="none" spc="0" normalizeH="0" baseline="0" noProof="0" dirty="0" err="1" smtClean="0">
                  <a:ln>
                    <a:noFill/>
                  </a:ln>
                  <a:solidFill>
                    <a:prstClr val="black"/>
                  </a:solidFill>
                  <a:effectLst/>
                  <a:uLnTx/>
                  <a:uFillTx/>
                  <a:latin typeface="微软雅黑" panose="020B0503020204020204" pitchFamily="34" charset="-122"/>
                  <a:ea typeface="微软雅黑" panose="020B0503020204020204" pitchFamily="34" charset="-122"/>
                </a:rPr>
                <a:t>XCloud</a:t>
              </a:r>
              <a:r>
                <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平台</a:t>
              </a:r>
              <a:r>
                <a:rPr lang="zh-CN" altLang="en-US" sz="1200" b="0" kern="0" dirty="0" smtClean="0">
                  <a:solidFill>
                    <a:prstClr val="black"/>
                  </a:solidFill>
                  <a:latin typeface="微软雅黑" panose="020B0503020204020204" pitchFamily="34" charset="-122"/>
                  <a:ea typeface="微软雅黑" panose="020B0503020204020204" pitchFamily="34" charset="-122"/>
                </a:rPr>
                <a:t>，重构公司产品</a:t>
              </a:r>
              <a:endParaRPr kumimoji="0" lang="zh-CN" altLang="en-US" sz="1200" b="0" i="0" u="none" strike="noStrike" kern="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8" name="TextBox 7"/>
            <p:cNvSpPr>
              <a:spLocks noChangeArrowheads="1"/>
            </p:cNvSpPr>
            <p:nvPr/>
          </p:nvSpPr>
          <p:spPr bwMode="auto">
            <a:xfrm>
              <a:off x="10117269" y="3508635"/>
              <a:ext cx="1224135" cy="3127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b="0" i="0" u="none" strike="noStrike" kern="0" cap="none" spc="0" normalizeH="0" baseline="0" noProof="0" dirty="0" smtClean="0">
                  <a:ln>
                    <a:noFill/>
                  </a:ln>
                  <a:solidFill>
                    <a:srgbClr val="F79646">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更多精彩</a:t>
              </a:r>
              <a:endParaRPr kumimoji="0" lang="zh-CN" altLang="en-US" b="0" i="0" u="none" strike="noStrike" kern="0" cap="none" spc="0" normalizeH="0" baseline="0" noProof="0" dirty="0">
                <a:ln>
                  <a:noFill/>
                </a:ln>
                <a:solidFill>
                  <a:srgbClr val="F79646">
                    <a:lumMod val="75000"/>
                  </a:srgbClr>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9" name="圆角矩形 68"/>
            <p:cNvSpPr/>
            <p:nvPr/>
          </p:nvSpPr>
          <p:spPr>
            <a:xfrm>
              <a:off x="9906061" y="3429001"/>
              <a:ext cx="1646552" cy="467045"/>
            </a:xfrm>
            <a:prstGeom prst="roundRect">
              <a:avLst>
                <a:gd name="adj" fmla="val 50000"/>
              </a:avLst>
            </a:prstGeom>
            <a:noFill/>
            <a:ln w="25400" cap="flat" cmpd="sng" algn="ctr">
              <a:solidFill>
                <a:srgbClr val="F79646">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srgbClr val="0070C0"/>
                </a:solidFill>
                <a:effectLst/>
                <a:uLnTx/>
                <a:uFillTx/>
                <a:latin typeface="Arial"/>
                <a:ea typeface="微软雅黑"/>
                <a:cs typeface="+mn-cs"/>
              </a:endParaRPr>
            </a:p>
          </p:txBody>
        </p:sp>
      </p:grpSp>
    </p:spTree>
    <p:extLst>
      <p:ext uri="{BB962C8B-B14F-4D97-AF65-F5344CB8AC3E}">
        <p14:creationId xmlns:p14="http://schemas.microsoft.com/office/powerpoint/2010/main" val="42522025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公司</a:t>
            </a:r>
            <a:r>
              <a:rPr lang="zh-CN" altLang="en-US" dirty="0" smtClean="0">
                <a:latin typeface="微软雅黑" pitchFamily="34" charset="-122"/>
                <a:ea typeface="微软雅黑" pitchFamily="34" charset="-122"/>
              </a:rPr>
              <a:t>简介</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3</a:t>
            </a:fld>
            <a:endParaRPr lang="en-US"/>
          </a:p>
        </p:txBody>
      </p:sp>
      <p:grpSp>
        <p:nvGrpSpPr>
          <p:cNvPr id="5" name="组合 4"/>
          <p:cNvGrpSpPr/>
          <p:nvPr/>
        </p:nvGrpSpPr>
        <p:grpSpPr>
          <a:xfrm>
            <a:off x="385006" y="809511"/>
            <a:ext cx="8226617" cy="3502783"/>
            <a:chOff x="378646" y="992182"/>
            <a:chExt cx="10993084" cy="4799688"/>
          </a:xfrm>
        </p:grpSpPr>
        <p:grpSp>
          <p:nvGrpSpPr>
            <p:cNvPr id="142" name="组合 141"/>
            <p:cNvGrpSpPr/>
            <p:nvPr/>
          </p:nvGrpSpPr>
          <p:grpSpPr>
            <a:xfrm>
              <a:off x="2033971" y="1844824"/>
              <a:ext cx="7899874" cy="3947046"/>
              <a:chOff x="947965" y="771528"/>
              <a:chExt cx="7209800" cy="3754697"/>
            </a:xfrm>
          </p:grpSpPr>
          <p:grpSp>
            <p:nvGrpSpPr>
              <p:cNvPr id="143" name="00091eef-2658-4908-ae12-dd5286d0267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947965" y="771528"/>
                <a:ext cx="7209800" cy="3754697"/>
                <a:chOff x="1271464" y="1169926"/>
                <a:chExt cx="9613067" cy="5006262"/>
              </a:xfrm>
            </p:grpSpPr>
            <p:sp>
              <p:nvSpPr>
                <p:cNvPr id="151" name="i$ḻiḋé"/>
                <p:cNvSpPr>
                  <a:spLocks noChangeAspect="1"/>
                </p:cNvSpPr>
                <p:nvPr/>
              </p:nvSpPr>
              <p:spPr>
                <a:xfrm>
                  <a:off x="6022217" y="3276600"/>
                  <a:ext cx="152400" cy="152400"/>
                </a:xfrm>
                <a:prstGeom prst="ellipse">
                  <a:avLst/>
                </a:prstGeom>
                <a:solidFill>
                  <a:srgbClr val="9BBB59">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grpSp>
              <p:nvGrpSpPr>
                <p:cNvPr id="152" name="íš1ïďe"/>
                <p:cNvGrpSpPr/>
                <p:nvPr/>
              </p:nvGrpSpPr>
              <p:grpSpPr>
                <a:xfrm>
                  <a:off x="4359424" y="3681028"/>
                  <a:ext cx="2988950" cy="2495160"/>
                  <a:chOff x="4359424" y="3681028"/>
                  <a:chExt cx="2988950" cy="2495160"/>
                </a:xfrm>
              </p:grpSpPr>
              <p:sp>
                <p:nvSpPr>
                  <p:cNvPr id="203" name="îṥľíḍé"/>
                  <p:cNvSpPr/>
                  <p:nvPr/>
                </p:nvSpPr>
                <p:spPr bwMode="auto">
                  <a:xfrm>
                    <a:off x="4853214" y="3681028"/>
                    <a:ext cx="2495160" cy="2495160"/>
                  </a:xfrm>
                  <a:prstGeom prst="ellipse">
                    <a:avLst/>
                  </a:prstGeom>
                  <a:solidFill>
                    <a:sysClr val="window" lastClr="FFFFFF">
                      <a:lumMod val="95000"/>
                    </a:sysClr>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204" name="ïšlíḓè"/>
                  <p:cNvGrpSpPr/>
                  <p:nvPr/>
                </p:nvGrpSpPr>
                <p:grpSpPr>
                  <a:xfrm>
                    <a:off x="4359424" y="3692215"/>
                    <a:ext cx="2976945" cy="2306214"/>
                    <a:chOff x="4359424" y="3692215"/>
                    <a:chExt cx="2976945" cy="2306214"/>
                  </a:xfrm>
                  <a:solidFill>
                    <a:srgbClr val="1F497D">
                      <a:lumMod val="60000"/>
                      <a:lumOff val="40000"/>
                    </a:srgbClr>
                  </a:solidFill>
                </p:grpSpPr>
                <p:sp>
                  <p:nvSpPr>
                    <p:cNvPr id="205" name="îŝľiḍé"/>
                    <p:cNvSpPr/>
                    <p:nvPr/>
                  </p:nvSpPr>
                  <p:spPr bwMode="auto">
                    <a:xfrm>
                      <a:off x="5481366" y="5974438"/>
                      <a:ext cx="7634"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6" name="ïś1iḓe"/>
                    <p:cNvSpPr/>
                    <p:nvPr/>
                  </p:nvSpPr>
                  <p:spPr bwMode="auto">
                    <a:xfrm>
                      <a:off x="6891437" y="4030001"/>
                      <a:ext cx="69795" cy="38169"/>
                    </a:xfrm>
                    <a:custGeom>
                      <a:avLst/>
                      <a:gdLst>
                        <a:gd name="T0" fmla="*/ 1 w 9"/>
                        <a:gd name="T1" fmla="*/ 1 h 5"/>
                        <a:gd name="T2" fmla="*/ 2 w 9"/>
                        <a:gd name="T3" fmla="*/ 4 h 5"/>
                        <a:gd name="T4" fmla="*/ 5 w 9"/>
                        <a:gd name="T5" fmla="*/ 4 h 5"/>
                        <a:gd name="T6" fmla="*/ 7 w 9"/>
                        <a:gd name="T7" fmla="*/ 4 h 5"/>
                        <a:gd name="T8" fmla="*/ 9 w 9"/>
                        <a:gd name="T9" fmla="*/ 5 h 5"/>
                        <a:gd name="T10" fmla="*/ 5 w 9"/>
                        <a:gd name="T11" fmla="*/ 1 h 5"/>
                        <a:gd name="T12" fmla="*/ 2 w 9"/>
                        <a:gd name="T13" fmla="*/ 0 h 5"/>
                        <a:gd name="T14" fmla="*/ 1 w 9"/>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1" y="1"/>
                          </a:moveTo>
                          <a:cubicBezTo>
                            <a:pt x="2" y="2"/>
                            <a:pt x="2" y="2"/>
                            <a:pt x="2" y="4"/>
                          </a:cubicBezTo>
                          <a:cubicBezTo>
                            <a:pt x="3" y="5"/>
                            <a:pt x="4" y="4"/>
                            <a:pt x="5" y="4"/>
                          </a:cubicBezTo>
                          <a:cubicBezTo>
                            <a:pt x="5" y="3"/>
                            <a:pt x="5" y="3"/>
                            <a:pt x="7" y="4"/>
                          </a:cubicBezTo>
                          <a:cubicBezTo>
                            <a:pt x="8" y="5"/>
                            <a:pt x="8" y="5"/>
                            <a:pt x="9" y="5"/>
                          </a:cubicBezTo>
                          <a:cubicBezTo>
                            <a:pt x="7" y="4"/>
                            <a:pt x="6" y="2"/>
                            <a:pt x="5" y="1"/>
                          </a:cubicBezTo>
                          <a:cubicBezTo>
                            <a:pt x="4" y="1"/>
                            <a:pt x="3" y="1"/>
                            <a:pt x="2"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7" name="íṡḷïḓê"/>
                    <p:cNvSpPr/>
                    <p:nvPr/>
                  </p:nvSpPr>
                  <p:spPr bwMode="auto">
                    <a:xfrm>
                      <a:off x="6852177" y="4084529"/>
                      <a:ext cx="39260" cy="45803"/>
                    </a:xfrm>
                    <a:custGeom>
                      <a:avLst/>
                      <a:gdLst>
                        <a:gd name="T0" fmla="*/ 5 w 5"/>
                        <a:gd name="T1" fmla="*/ 5 h 6"/>
                        <a:gd name="T2" fmla="*/ 0 w 5"/>
                        <a:gd name="T3" fmla="*/ 3 h 6"/>
                        <a:gd name="T4" fmla="*/ 5 w 5"/>
                        <a:gd name="T5" fmla="*/ 5 h 6"/>
                      </a:gdLst>
                      <a:ahLst/>
                      <a:cxnLst>
                        <a:cxn ang="0">
                          <a:pos x="T0" y="T1"/>
                        </a:cxn>
                        <a:cxn ang="0">
                          <a:pos x="T2" y="T3"/>
                        </a:cxn>
                        <a:cxn ang="0">
                          <a:pos x="T4" y="T5"/>
                        </a:cxn>
                      </a:cxnLst>
                      <a:rect l="0" t="0" r="r" b="b"/>
                      <a:pathLst>
                        <a:path w="5" h="6">
                          <a:moveTo>
                            <a:pt x="5" y="5"/>
                          </a:moveTo>
                          <a:cubicBezTo>
                            <a:pt x="5" y="4"/>
                            <a:pt x="1" y="0"/>
                            <a:pt x="0" y="3"/>
                          </a:cubicBezTo>
                          <a:cubicBezTo>
                            <a:pt x="0" y="4"/>
                            <a:pt x="4" y="6"/>
                            <a:pt x="5"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8" name="í$líďe"/>
                    <p:cNvSpPr/>
                    <p:nvPr/>
                  </p:nvSpPr>
                  <p:spPr bwMode="auto">
                    <a:xfrm>
                      <a:off x="4907741" y="4681055"/>
                      <a:ext cx="45803" cy="92696"/>
                    </a:xfrm>
                    <a:custGeom>
                      <a:avLst/>
                      <a:gdLst>
                        <a:gd name="T0" fmla="*/ 2 w 6"/>
                        <a:gd name="T1" fmla="*/ 9 h 12"/>
                        <a:gd name="T2" fmla="*/ 5 w 6"/>
                        <a:gd name="T3" fmla="*/ 11 h 12"/>
                        <a:gd name="T4" fmla="*/ 3 w 6"/>
                        <a:gd name="T5" fmla="*/ 6 h 12"/>
                        <a:gd name="T6" fmla="*/ 1 w 6"/>
                        <a:gd name="T7" fmla="*/ 1 h 12"/>
                        <a:gd name="T8" fmla="*/ 1 w 6"/>
                        <a:gd name="T9" fmla="*/ 0 h 12"/>
                        <a:gd name="T10" fmla="*/ 0 w 6"/>
                        <a:gd name="T11" fmla="*/ 4 h 12"/>
                        <a:gd name="T12" fmla="*/ 1 w 6"/>
                        <a:gd name="T13" fmla="*/ 7 h 12"/>
                        <a:gd name="T14" fmla="*/ 2 w 6"/>
                        <a:gd name="T15" fmla="*/ 9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2" y="9"/>
                          </a:moveTo>
                          <a:cubicBezTo>
                            <a:pt x="3" y="9"/>
                            <a:pt x="4" y="12"/>
                            <a:pt x="5" y="11"/>
                          </a:cubicBezTo>
                          <a:cubicBezTo>
                            <a:pt x="6" y="9"/>
                            <a:pt x="3" y="7"/>
                            <a:pt x="3" y="6"/>
                          </a:cubicBezTo>
                          <a:cubicBezTo>
                            <a:pt x="2" y="5"/>
                            <a:pt x="3" y="3"/>
                            <a:pt x="1" y="1"/>
                          </a:cubicBezTo>
                          <a:cubicBezTo>
                            <a:pt x="1" y="1"/>
                            <a:pt x="1" y="0"/>
                            <a:pt x="1" y="0"/>
                          </a:cubicBezTo>
                          <a:cubicBezTo>
                            <a:pt x="0" y="2"/>
                            <a:pt x="0" y="3"/>
                            <a:pt x="0" y="4"/>
                          </a:cubicBezTo>
                          <a:cubicBezTo>
                            <a:pt x="1" y="5"/>
                            <a:pt x="1" y="6"/>
                            <a:pt x="1" y="7"/>
                          </a:cubicBezTo>
                          <a:cubicBezTo>
                            <a:pt x="1" y="8"/>
                            <a:pt x="2" y="8"/>
                            <a:pt x="2"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9" name="í$1îḋê"/>
                    <p:cNvSpPr/>
                    <p:nvPr/>
                  </p:nvSpPr>
                  <p:spPr bwMode="auto">
                    <a:xfrm>
                      <a:off x="5294883" y="3990742"/>
                      <a:ext cx="46893" cy="31626"/>
                    </a:xfrm>
                    <a:custGeom>
                      <a:avLst/>
                      <a:gdLst>
                        <a:gd name="T0" fmla="*/ 1 w 6"/>
                        <a:gd name="T1" fmla="*/ 4 h 4"/>
                        <a:gd name="T2" fmla="*/ 3 w 6"/>
                        <a:gd name="T3" fmla="*/ 3 h 4"/>
                        <a:gd name="T4" fmla="*/ 6 w 6"/>
                        <a:gd name="T5" fmla="*/ 1 h 4"/>
                        <a:gd name="T6" fmla="*/ 5 w 6"/>
                        <a:gd name="T7" fmla="*/ 0 h 4"/>
                        <a:gd name="T8" fmla="*/ 0 w 6"/>
                        <a:gd name="T9" fmla="*/ 4 h 4"/>
                        <a:gd name="T10" fmla="*/ 1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1" y="4"/>
                          </a:moveTo>
                          <a:cubicBezTo>
                            <a:pt x="1" y="4"/>
                            <a:pt x="3" y="3"/>
                            <a:pt x="3" y="3"/>
                          </a:cubicBezTo>
                          <a:cubicBezTo>
                            <a:pt x="4" y="3"/>
                            <a:pt x="6" y="2"/>
                            <a:pt x="6" y="1"/>
                          </a:cubicBezTo>
                          <a:cubicBezTo>
                            <a:pt x="6" y="0"/>
                            <a:pt x="5" y="0"/>
                            <a:pt x="5" y="0"/>
                          </a:cubicBezTo>
                          <a:cubicBezTo>
                            <a:pt x="3" y="1"/>
                            <a:pt x="2" y="3"/>
                            <a:pt x="0" y="4"/>
                          </a:cubicBezTo>
                          <a:cubicBezTo>
                            <a:pt x="1" y="4"/>
                            <a:pt x="1" y="4"/>
                            <a:pt x="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0" name="íŝliḋè"/>
                    <p:cNvSpPr/>
                    <p:nvPr/>
                  </p:nvSpPr>
                  <p:spPr bwMode="auto">
                    <a:xfrm>
                      <a:off x="5357044" y="3920947"/>
                      <a:ext cx="262821" cy="154857"/>
                    </a:xfrm>
                    <a:custGeom>
                      <a:avLst/>
                      <a:gdLst>
                        <a:gd name="T0" fmla="*/ 0 w 34"/>
                        <a:gd name="T1" fmla="*/ 7 h 20"/>
                        <a:gd name="T2" fmla="*/ 2 w 34"/>
                        <a:gd name="T3" fmla="*/ 6 h 20"/>
                        <a:gd name="T4" fmla="*/ 3 w 34"/>
                        <a:gd name="T5" fmla="*/ 5 h 20"/>
                        <a:gd name="T6" fmla="*/ 4 w 34"/>
                        <a:gd name="T7" fmla="*/ 7 h 20"/>
                        <a:gd name="T8" fmla="*/ 6 w 34"/>
                        <a:gd name="T9" fmla="*/ 7 h 20"/>
                        <a:gd name="T10" fmla="*/ 5 w 34"/>
                        <a:gd name="T11" fmla="*/ 10 h 20"/>
                        <a:gd name="T12" fmla="*/ 4 w 34"/>
                        <a:gd name="T13" fmla="*/ 11 h 20"/>
                        <a:gd name="T14" fmla="*/ 7 w 34"/>
                        <a:gd name="T15" fmla="*/ 11 h 20"/>
                        <a:gd name="T16" fmla="*/ 9 w 34"/>
                        <a:gd name="T17" fmla="*/ 9 h 20"/>
                        <a:gd name="T18" fmla="*/ 11 w 34"/>
                        <a:gd name="T19" fmla="*/ 8 h 20"/>
                        <a:gd name="T20" fmla="*/ 11 w 34"/>
                        <a:gd name="T21" fmla="*/ 10 h 20"/>
                        <a:gd name="T22" fmla="*/ 8 w 34"/>
                        <a:gd name="T23" fmla="*/ 12 h 20"/>
                        <a:gd name="T24" fmla="*/ 5 w 34"/>
                        <a:gd name="T25" fmla="*/ 13 h 20"/>
                        <a:gd name="T26" fmla="*/ 2 w 34"/>
                        <a:gd name="T27" fmla="*/ 14 h 20"/>
                        <a:gd name="T28" fmla="*/ 2 w 34"/>
                        <a:gd name="T29" fmla="*/ 17 h 20"/>
                        <a:gd name="T30" fmla="*/ 4 w 34"/>
                        <a:gd name="T31" fmla="*/ 16 h 20"/>
                        <a:gd name="T32" fmla="*/ 10 w 34"/>
                        <a:gd name="T33" fmla="*/ 16 h 20"/>
                        <a:gd name="T34" fmla="*/ 13 w 34"/>
                        <a:gd name="T35" fmla="*/ 17 h 20"/>
                        <a:gd name="T36" fmla="*/ 15 w 34"/>
                        <a:gd name="T37" fmla="*/ 18 h 20"/>
                        <a:gd name="T38" fmla="*/ 17 w 34"/>
                        <a:gd name="T39" fmla="*/ 18 h 20"/>
                        <a:gd name="T40" fmla="*/ 19 w 34"/>
                        <a:gd name="T41" fmla="*/ 19 h 20"/>
                        <a:gd name="T42" fmla="*/ 22 w 34"/>
                        <a:gd name="T43" fmla="*/ 19 h 20"/>
                        <a:gd name="T44" fmla="*/ 24 w 34"/>
                        <a:gd name="T45" fmla="*/ 18 h 20"/>
                        <a:gd name="T46" fmla="*/ 26 w 34"/>
                        <a:gd name="T47" fmla="*/ 18 h 20"/>
                        <a:gd name="T48" fmla="*/ 26 w 34"/>
                        <a:gd name="T49" fmla="*/ 15 h 20"/>
                        <a:gd name="T50" fmla="*/ 22 w 34"/>
                        <a:gd name="T51" fmla="*/ 13 h 20"/>
                        <a:gd name="T52" fmla="*/ 22 w 34"/>
                        <a:gd name="T53" fmla="*/ 12 h 20"/>
                        <a:gd name="T54" fmla="*/ 26 w 34"/>
                        <a:gd name="T55" fmla="*/ 13 h 20"/>
                        <a:gd name="T56" fmla="*/ 29 w 34"/>
                        <a:gd name="T57" fmla="*/ 13 h 20"/>
                        <a:gd name="T58" fmla="*/ 32 w 34"/>
                        <a:gd name="T59" fmla="*/ 12 h 20"/>
                        <a:gd name="T60" fmla="*/ 34 w 34"/>
                        <a:gd name="T61" fmla="*/ 10 h 20"/>
                        <a:gd name="T62" fmla="*/ 28 w 34"/>
                        <a:gd name="T63" fmla="*/ 9 h 20"/>
                        <a:gd name="T64" fmla="*/ 25 w 34"/>
                        <a:gd name="T65" fmla="*/ 7 h 20"/>
                        <a:gd name="T66" fmla="*/ 22 w 34"/>
                        <a:gd name="T67" fmla="*/ 7 h 20"/>
                        <a:gd name="T68" fmla="*/ 22 w 34"/>
                        <a:gd name="T69" fmla="*/ 3 h 20"/>
                        <a:gd name="T70" fmla="*/ 14 w 34"/>
                        <a:gd name="T71" fmla="*/ 2 h 20"/>
                        <a:gd name="T72" fmla="*/ 8 w 34"/>
                        <a:gd name="T73" fmla="*/ 0 h 20"/>
                        <a:gd name="T74" fmla="*/ 0 w 34"/>
                        <a:gd name="T75" fmla="*/ 7 h 20"/>
                        <a:gd name="T76" fmla="*/ 0 w 34"/>
                        <a:gd name="T77"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20">
                          <a:moveTo>
                            <a:pt x="0" y="7"/>
                          </a:moveTo>
                          <a:cubicBezTo>
                            <a:pt x="0" y="7"/>
                            <a:pt x="2" y="7"/>
                            <a:pt x="2" y="6"/>
                          </a:cubicBezTo>
                          <a:cubicBezTo>
                            <a:pt x="2" y="5"/>
                            <a:pt x="2" y="5"/>
                            <a:pt x="3" y="5"/>
                          </a:cubicBezTo>
                          <a:cubicBezTo>
                            <a:pt x="3" y="5"/>
                            <a:pt x="2" y="7"/>
                            <a:pt x="4" y="7"/>
                          </a:cubicBezTo>
                          <a:cubicBezTo>
                            <a:pt x="5" y="6"/>
                            <a:pt x="5" y="6"/>
                            <a:pt x="6" y="7"/>
                          </a:cubicBezTo>
                          <a:cubicBezTo>
                            <a:pt x="7" y="7"/>
                            <a:pt x="5" y="9"/>
                            <a:pt x="5" y="10"/>
                          </a:cubicBezTo>
                          <a:cubicBezTo>
                            <a:pt x="4" y="10"/>
                            <a:pt x="3" y="11"/>
                            <a:pt x="4" y="11"/>
                          </a:cubicBezTo>
                          <a:cubicBezTo>
                            <a:pt x="6" y="11"/>
                            <a:pt x="7" y="11"/>
                            <a:pt x="7" y="11"/>
                          </a:cubicBezTo>
                          <a:cubicBezTo>
                            <a:pt x="7" y="11"/>
                            <a:pt x="8" y="9"/>
                            <a:pt x="9" y="9"/>
                          </a:cubicBezTo>
                          <a:cubicBezTo>
                            <a:pt x="9" y="8"/>
                            <a:pt x="10" y="8"/>
                            <a:pt x="11" y="8"/>
                          </a:cubicBezTo>
                          <a:cubicBezTo>
                            <a:pt x="11" y="9"/>
                            <a:pt x="14" y="9"/>
                            <a:pt x="11" y="10"/>
                          </a:cubicBezTo>
                          <a:cubicBezTo>
                            <a:pt x="9" y="11"/>
                            <a:pt x="8" y="11"/>
                            <a:pt x="8" y="12"/>
                          </a:cubicBezTo>
                          <a:cubicBezTo>
                            <a:pt x="7" y="13"/>
                            <a:pt x="7" y="14"/>
                            <a:pt x="5" y="13"/>
                          </a:cubicBezTo>
                          <a:cubicBezTo>
                            <a:pt x="3" y="13"/>
                            <a:pt x="2" y="13"/>
                            <a:pt x="2" y="14"/>
                          </a:cubicBezTo>
                          <a:cubicBezTo>
                            <a:pt x="1" y="15"/>
                            <a:pt x="1" y="17"/>
                            <a:pt x="2" y="17"/>
                          </a:cubicBezTo>
                          <a:cubicBezTo>
                            <a:pt x="3" y="17"/>
                            <a:pt x="3" y="17"/>
                            <a:pt x="4" y="16"/>
                          </a:cubicBezTo>
                          <a:cubicBezTo>
                            <a:pt x="5" y="16"/>
                            <a:pt x="9" y="16"/>
                            <a:pt x="10" y="16"/>
                          </a:cubicBezTo>
                          <a:cubicBezTo>
                            <a:pt x="11" y="16"/>
                            <a:pt x="12" y="17"/>
                            <a:pt x="13" y="17"/>
                          </a:cubicBezTo>
                          <a:cubicBezTo>
                            <a:pt x="13" y="17"/>
                            <a:pt x="14" y="18"/>
                            <a:pt x="15" y="18"/>
                          </a:cubicBezTo>
                          <a:cubicBezTo>
                            <a:pt x="16" y="19"/>
                            <a:pt x="16" y="17"/>
                            <a:pt x="17" y="18"/>
                          </a:cubicBezTo>
                          <a:cubicBezTo>
                            <a:pt x="19" y="19"/>
                            <a:pt x="18" y="19"/>
                            <a:pt x="19" y="19"/>
                          </a:cubicBezTo>
                          <a:cubicBezTo>
                            <a:pt x="20" y="19"/>
                            <a:pt x="22" y="19"/>
                            <a:pt x="22" y="19"/>
                          </a:cubicBezTo>
                          <a:cubicBezTo>
                            <a:pt x="22" y="19"/>
                            <a:pt x="22" y="17"/>
                            <a:pt x="24" y="18"/>
                          </a:cubicBezTo>
                          <a:cubicBezTo>
                            <a:pt x="25" y="18"/>
                            <a:pt x="26" y="20"/>
                            <a:pt x="26" y="18"/>
                          </a:cubicBezTo>
                          <a:cubicBezTo>
                            <a:pt x="26" y="17"/>
                            <a:pt x="27" y="16"/>
                            <a:pt x="26" y="15"/>
                          </a:cubicBezTo>
                          <a:cubicBezTo>
                            <a:pt x="24" y="14"/>
                            <a:pt x="22" y="14"/>
                            <a:pt x="22" y="13"/>
                          </a:cubicBezTo>
                          <a:cubicBezTo>
                            <a:pt x="22" y="13"/>
                            <a:pt x="22" y="12"/>
                            <a:pt x="22" y="12"/>
                          </a:cubicBezTo>
                          <a:cubicBezTo>
                            <a:pt x="23" y="11"/>
                            <a:pt x="25" y="12"/>
                            <a:pt x="26" y="13"/>
                          </a:cubicBezTo>
                          <a:cubicBezTo>
                            <a:pt x="27" y="13"/>
                            <a:pt x="28" y="14"/>
                            <a:pt x="29" y="13"/>
                          </a:cubicBezTo>
                          <a:cubicBezTo>
                            <a:pt x="30" y="13"/>
                            <a:pt x="31" y="12"/>
                            <a:pt x="32" y="12"/>
                          </a:cubicBezTo>
                          <a:cubicBezTo>
                            <a:pt x="32" y="11"/>
                            <a:pt x="34" y="10"/>
                            <a:pt x="34" y="10"/>
                          </a:cubicBezTo>
                          <a:cubicBezTo>
                            <a:pt x="34" y="10"/>
                            <a:pt x="29" y="9"/>
                            <a:pt x="28" y="9"/>
                          </a:cubicBezTo>
                          <a:cubicBezTo>
                            <a:pt x="28" y="8"/>
                            <a:pt x="26" y="7"/>
                            <a:pt x="25" y="7"/>
                          </a:cubicBezTo>
                          <a:cubicBezTo>
                            <a:pt x="25" y="7"/>
                            <a:pt x="23" y="8"/>
                            <a:pt x="22" y="7"/>
                          </a:cubicBezTo>
                          <a:cubicBezTo>
                            <a:pt x="22" y="5"/>
                            <a:pt x="22" y="3"/>
                            <a:pt x="22" y="3"/>
                          </a:cubicBezTo>
                          <a:cubicBezTo>
                            <a:pt x="21" y="3"/>
                            <a:pt x="15" y="3"/>
                            <a:pt x="14" y="2"/>
                          </a:cubicBezTo>
                          <a:cubicBezTo>
                            <a:pt x="13" y="2"/>
                            <a:pt x="10" y="1"/>
                            <a:pt x="8" y="0"/>
                          </a:cubicBezTo>
                          <a:cubicBezTo>
                            <a:pt x="5" y="2"/>
                            <a:pt x="3" y="4"/>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1" name="îs1íḍe"/>
                    <p:cNvSpPr/>
                    <p:nvPr/>
                  </p:nvSpPr>
                  <p:spPr bwMode="auto">
                    <a:xfrm>
                      <a:off x="4915375" y="4068170"/>
                      <a:ext cx="1085089" cy="1930259"/>
                    </a:xfrm>
                    <a:custGeom>
                      <a:avLst/>
                      <a:gdLst>
                        <a:gd name="T0" fmla="*/ 82 w 140"/>
                        <a:gd name="T1" fmla="*/ 249 h 249"/>
                        <a:gd name="T2" fmla="*/ 81 w 140"/>
                        <a:gd name="T3" fmla="*/ 242 h 249"/>
                        <a:gd name="T4" fmla="*/ 86 w 140"/>
                        <a:gd name="T5" fmla="*/ 233 h 249"/>
                        <a:gd name="T6" fmla="*/ 89 w 140"/>
                        <a:gd name="T7" fmla="*/ 227 h 249"/>
                        <a:gd name="T8" fmla="*/ 95 w 140"/>
                        <a:gd name="T9" fmla="*/ 217 h 249"/>
                        <a:gd name="T10" fmla="*/ 109 w 140"/>
                        <a:gd name="T11" fmla="*/ 211 h 249"/>
                        <a:gd name="T12" fmla="*/ 122 w 140"/>
                        <a:gd name="T13" fmla="*/ 197 h 249"/>
                        <a:gd name="T14" fmla="*/ 133 w 140"/>
                        <a:gd name="T15" fmla="*/ 175 h 249"/>
                        <a:gd name="T16" fmla="*/ 127 w 140"/>
                        <a:gd name="T17" fmla="*/ 151 h 249"/>
                        <a:gd name="T18" fmla="*/ 109 w 140"/>
                        <a:gd name="T19" fmla="*/ 150 h 249"/>
                        <a:gd name="T20" fmla="*/ 109 w 140"/>
                        <a:gd name="T21" fmla="*/ 141 h 249"/>
                        <a:gd name="T22" fmla="*/ 90 w 140"/>
                        <a:gd name="T23" fmla="*/ 124 h 249"/>
                        <a:gd name="T24" fmla="*/ 84 w 140"/>
                        <a:gd name="T25" fmla="*/ 119 h 249"/>
                        <a:gd name="T26" fmla="*/ 72 w 140"/>
                        <a:gd name="T27" fmla="*/ 118 h 249"/>
                        <a:gd name="T28" fmla="*/ 65 w 140"/>
                        <a:gd name="T29" fmla="*/ 113 h 249"/>
                        <a:gd name="T30" fmla="*/ 50 w 140"/>
                        <a:gd name="T31" fmla="*/ 119 h 249"/>
                        <a:gd name="T32" fmla="*/ 41 w 140"/>
                        <a:gd name="T33" fmla="*/ 104 h 249"/>
                        <a:gd name="T34" fmla="*/ 36 w 140"/>
                        <a:gd name="T35" fmla="*/ 92 h 249"/>
                        <a:gd name="T36" fmla="*/ 23 w 140"/>
                        <a:gd name="T37" fmla="*/ 98 h 249"/>
                        <a:gd name="T38" fmla="*/ 25 w 140"/>
                        <a:gd name="T39" fmla="*/ 74 h 249"/>
                        <a:gd name="T40" fmla="*/ 40 w 140"/>
                        <a:gd name="T41" fmla="*/ 71 h 249"/>
                        <a:gd name="T42" fmla="*/ 49 w 140"/>
                        <a:gd name="T43" fmla="*/ 78 h 249"/>
                        <a:gd name="T44" fmla="*/ 57 w 140"/>
                        <a:gd name="T45" fmla="*/ 53 h 249"/>
                        <a:gd name="T46" fmla="*/ 65 w 140"/>
                        <a:gd name="T47" fmla="*/ 46 h 249"/>
                        <a:gd name="T48" fmla="*/ 76 w 140"/>
                        <a:gd name="T49" fmla="*/ 37 h 249"/>
                        <a:gd name="T50" fmla="*/ 88 w 140"/>
                        <a:gd name="T51" fmla="*/ 32 h 249"/>
                        <a:gd name="T52" fmla="*/ 80 w 140"/>
                        <a:gd name="T53" fmla="*/ 30 h 249"/>
                        <a:gd name="T54" fmla="*/ 72 w 140"/>
                        <a:gd name="T55" fmla="*/ 26 h 249"/>
                        <a:gd name="T56" fmla="*/ 86 w 140"/>
                        <a:gd name="T57" fmla="*/ 25 h 249"/>
                        <a:gd name="T58" fmla="*/ 91 w 140"/>
                        <a:gd name="T59" fmla="*/ 28 h 249"/>
                        <a:gd name="T60" fmla="*/ 102 w 140"/>
                        <a:gd name="T61" fmla="*/ 30 h 249"/>
                        <a:gd name="T62" fmla="*/ 96 w 140"/>
                        <a:gd name="T63" fmla="*/ 23 h 249"/>
                        <a:gd name="T64" fmla="*/ 88 w 140"/>
                        <a:gd name="T65" fmla="*/ 12 h 249"/>
                        <a:gd name="T66" fmla="*/ 73 w 140"/>
                        <a:gd name="T67" fmla="*/ 6 h 249"/>
                        <a:gd name="T68" fmla="*/ 58 w 140"/>
                        <a:gd name="T69" fmla="*/ 4 h 249"/>
                        <a:gd name="T70" fmla="*/ 56 w 140"/>
                        <a:gd name="T71" fmla="*/ 15 h 249"/>
                        <a:gd name="T72" fmla="*/ 51 w 140"/>
                        <a:gd name="T73" fmla="*/ 21 h 249"/>
                        <a:gd name="T74" fmla="*/ 42 w 140"/>
                        <a:gd name="T75" fmla="*/ 15 h 249"/>
                        <a:gd name="T76" fmla="*/ 2 w 140"/>
                        <a:gd name="T77" fmla="*/ 80 h 249"/>
                        <a:gd name="T78" fmla="*/ 14 w 140"/>
                        <a:gd name="T79" fmla="*/ 101 h 249"/>
                        <a:gd name="T80" fmla="*/ 27 w 140"/>
                        <a:gd name="T81" fmla="*/ 107 h 249"/>
                        <a:gd name="T82" fmla="*/ 40 w 140"/>
                        <a:gd name="T83" fmla="*/ 120 h 249"/>
                        <a:gd name="T84" fmla="*/ 52 w 140"/>
                        <a:gd name="T85" fmla="*/ 123 h 249"/>
                        <a:gd name="T86" fmla="*/ 48 w 140"/>
                        <a:gd name="T87" fmla="*/ 144 h 249"/>
                        <a:gd name="T88" fmla="*/ 58 w 140"/>
                        <a:gd name="T89" fmla="*/ 174 h 249"/>
                        <a:gd name="T90" fmla="*/ 71 w 140"/>
                        <a:gd name="T91" fmla="*/ 198 h 249"/>
                        <a:gd name="T92" fmla="*/ 70 w 140"/>
                        <a:gd name="T93" fmla="*/ 217 h 249"/>
                        <a:gd name="T94" fmla="*/ 70 w 140"/>
                        <a:gd name="T95" fmla="*/ 231 h 249"/>
                        <a:gd name="T96" fmla="*/ 71 w 140"/>
                        <a:gd name="T97" fmla="*/ 241 h 249"/>
                        <a:gd name="T98" fmla="*/ 75 w 140"/>
                        <a:gd name="T99" fmla="*/ 247 h 249"/>
                        <a:gd name="T100" fmla="*/ 54 w 140"/>
                        <a:gd name="T101" fmla="*/ 42 h 249"/>
                        <a:gd name="T102" fmla="*/ 55 w 140"/>
                        <a:gd name="T103" fmla="*/ 38 h 249"/>
                        <a:gd name="T104" fmla="*/ 48 w 140"/>
                        <a:gd name="T105" fmla="*/ 42 h 249"/>
                        <a:gd name="T106" fmla="*/ 39 w 140"/>
                        <a:gd name="T107" fmla="*/ 46 h 249"/>
                        <a:gd name="T108" fmla="*/ 50 w 140"/>
                        <a:gd name="T109" fmla="*/ 34 h 249"/>
                        <a:gd name="T110" fmla="*/ 40 w 140"/>
                        <a:gd name="T111" fmla="*/ 3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249">
                          <a:moveTo>
                            <a:pt x="77" y="248"/>
                          </a:moveTo>
                          <a:cubicBezTo>
                            <a:pt x="78" y="248"/>
                            <a:pt x="79" y="248"/>
                            <a:pt x="78" y="246"/>
                          </a:cubicBezTo>
                          <a:cubicBezTo>
                            <a:pt x="78" y="245"/>
                            <a:pt x="81" y="246"/>
                            <a:pt x="80" y="247"/>
                          </a:cubicBezTo>
                          <a:cubicBezTo>
                            <a:pt x="78" y="248"/>
                            <a:pt x="78" y="248"/>
                            <a:pt x="78" y="248"/>
                          </a:cubicBezTo>
                          <a:cubicBezTo>
                            <a:pt x="79" y="248"/>
                            <a:pt x="81" y="249"/>
                            <a:pt x="82" y="249"/>
                          </a:cubicBezTo>
                          <a:cubicBezTo>
                            <a:pt x="83" y="249"/>
                            <a:pt x="86" y="249"/>
                            <a:pt x="86" y="249"/>
                          </a:cubicBezTo>
                          <a:cubicBezTo>
                            <a:pt x="86" y="249"/>
                            <a:pt x="89" y="248"/>
                            <a:pt x="90" y="248"/>
                          </a:cubicBezTo>
                          <a:cubicBezTo>
                            <a:pt x="90" y="248"/>
                            <a:pt x="87" y="248"/>
                            <a:pt x="86" y="248"/>
                          </a:cubicBezTo>
                          <a:cubicBezTo>
                            <a:pt x="84" y="247"/>
                            <a:pt x="82" y="246"/>
                            <a:pt x="81" y="245"/>
                          </a:cubicBezTo>
                          <a:cubicBezTo>
                            <a:pt x="81" y="244"/>
                            <a:pt x="80" y="243"/>
                            <a:pt x="81" y="242"/>
                          </a:cubicBezTo>
                          <a:cubicBezTo>
                            <a:pt x="82" y="242"/>
                            <a:pt x="84" y="240"/>
                            <a:pt x="85" y="240"/>
                          </a:cubicBezTo>
                          <a:cubicBezTo>
                            <a:pt x="85" y="240"/>
                            <a:pt x="86" y="238"/>
                            <a:pt x="85" y="238"/>
                          </a:cubicBezTo>
                          <a:cubicBezTo>
                            <a:pt x="85" y="237"/>
                            <a:pt x="83" y="237"/>
                            <a:pt x="82" y="237"/>
                          </a:cubicBezTo>
                          <a:cubicBezTo>
                            <a:pt x="82" y="237"/>
                            <a:pt x="82" y="236"/>
                            <a:pt x="83" y="235"/>
                          </a:cubicBezTo>
                          <a:cubicBezTo>
                            <a:pt x="85" y="234"/>
                            <a:pt x="85" y="233"/>
                            <a:pt x="86" y="233"/>
                          </a:cubicBezTo>
                          <a:cubicBezTo>
                            <a:pt x="86" y="232"/>
                            <a:pt x="87" y="232"/>
                            <a:pt x="88" y="231"/>
                          </a:cubicBezTo>
                          <a:cubicBezTo>
                            <a:pt x="88" y="230"/>
                            <a:pt x="87" y="230"/>
                            <a:pt x="86" y="230"/>
                          </a:cubicBezTo>
                          <a:cubicBezTo>
                            <a:pt x="85" y="230"/>
                            <a:pt x="85" y="229"/>
                            <a:pt x="84" y="228"/>
                          </a:cubicBezTo>
                          <a:cubicBezTo>
                            <a:pt x="84" y="227"/>
                            <a:pt x="87" y="228"/>
                            <a:pt x="89" y="229"/>
                          </a:cubicBezTo>
                          <a:cubicBezTo>
                            <a:pt x="90" y="229"/>
                            <a:pt x="89" y="228"/>
                            <a:pt x="89" y="227"/>
                          </a:cubicBezTo>
                          <a:cubicBezTo>
                            <a:pt x="89" y="226"/>
                            <a:pt x="89" y="225"/>
                            <a:pt x="90" y="225"/>
                          </a:cubicBezTo>
                          <a:cubicBezTo>
                            <a:pt x="91" y="226"/>
                            <a:pt x="96" y="225"/>
                            <a:pt x="96" y="225"/>
                          </a:cubicBezTo>
                          <a:cubicBezTo>
                            <a:pt x="97" y="225"/>
                            <a:pt x="98" y="223"/>
                            <a:pt x="99" y="222"/>
                          </a:cubicBezTo>
                          <a:cubicBezTo>
                            <a:pt x="99" y="221"/>
                            <a:pt x="100" y="221"/>
                            <a:pt x="99" y="220"/>
                          </a:cubicBezTo>
                          <a:cubicBezTo>
                            <a:pt x="98" y="220"/>
                            <a:pt x="95" y="218"/>
                            <a:pt x="95" y="217"/>
                          </a:cubicBezTo>
                          <a:cubicBezTo>
                            <a:pt x="95" y="217"/>
                            <a:pt x="96" y="214"/>
                            <a:pt x="96" y="213"/>
                          </a:cubicBezTo>
                          <a:cubicBezTo>
                            <a:pt x="96" y="213"/>
                            <a:pt x="96" y="218"/>
                            <a:pt x="99" y="219"/>
                          </a:cubicBezTo>
                          <a:cubicBezTo>
                            <a:pt x="101" y="219"/>
                            <a:pt x="102" y="220"/>
                            <a:pt x="104" y="218"/>
                          </a:cubicBezTo>
                          <a:cubicBezTo>
                            <a:pt x="106" y="216"/>
                            <a:pt x="107" y="215"/>
                            <a:pt x="108" y="214"/>
                          </a:cubicBezTo>
                          <a:cubicBezTo>
                            <a:pt x="108" y="212"/>
                            <a:pt x="108" y="211"/>
                            <a:pt x="109" y="211"/>
                          </a:cubicBezTo>
                          <a:cubicBezTo>
                            <a:pt x="110" y="210"/>
                            <a:pt x="110" y="211"/>
                            <a:pt x="111" y="208"/>
                          </a:cubicBezTo>
                          <a:cubicBezTo>
                            <a:pt x="112" y="206"/>
                            <a:pt x="113" y="208"/>
                            <a:pt x="114" y="206"/>
                          </a:cubicBezTo>
                          <a:cubicBezTo>
                            <a:pt x="115" y="204"/>
                            <a:pt x="112" y="202"/>
                            <a:pt x="114" y="201"/>
                          </a:cubicBezTo>
                          <a:cubicBezTo>
                            <a:pt x="116" y="199"/>
                            <a:pt x="119" y="198"/>
                            <a:pt x="119" y="198"/>
                          </a:cubicBezTo>
                          <a:cubicBezTo>
                            <a:pt x="119" y="198"/>
                            <a:pt x="120" y="197"/>
                            <a:pt x="122" y="197"/>
                          </a:cubicBezTo>
                          <a:cubicBezTo>
                            <a:pt x="124" y="196"/>
                            <a:pt x="126" y="197"/>
                            <a:pt x="127" y="196"/>
                          </a:cubicBezTo>
                          <a:cubicBezTo>
                            <a:pt x="127" y="194"/>
                            <a:pt x="128" y="192"/>
                            <a:pt x="129" y="191"/>
                          </a:cubicBezTo>
                          <a:cubicBezTo>
                            <a:pt x="130" y="190"/>
                            <a:pt x="131" y="188"/>
                            <a:pt x="131" y="187"/>
                          </a:cubicBezTo>
                          <a:cubicBezTo>
                            <a:pt x="130" y="186"/>
                            <a:pt x="132" y="182"/>
                            <a:pt x="132" y="181"/>
                          </a:cubicBezTo>
                          <a:cubicBezTo>
                            <a:pt x="132" y="180"/>
                            <a:pt x="130" y="177"/>
                            <a:pt x="133" y="175"/>
                          </a:cubicBezTo>
                          <a:cubicBezTo>
                            <a:pt x="135" y="172"/>
                            <a:pt x="138" y="169"/>
                            <a:pt x="138" y="168"/>
                          </a:cubicBezTo>
                          <a:cubicBezTo>
                            <a:pt x="138" y="167"/>
                            <a:pt x="140" y="163"/>
                            <a:pt x="140" y="161"/>
                          </a:cubicBezTo>
                          <a:cubicBezTo>
                            <a:pt x="140" y="159"/>
                            <a:pt x="138" y="156"/>
                            <a:pt x="137" y="156"/>
                          </a:cubicBezTo>
                          <a:cubicBezTo>
                            <a:pt x="136" y="155"/>
                            <a:pt x="133" y="155"/>
                            <a:pt x="132" y="153"/>
                          </a:cubicBezTo>
                          <a:cubicBezTo>
                            <a:pt x="131" y="152"/>
                            <a:pt x="128" y="150"/>
                            <a:pt x="127" y="151"/>
                          </a:cubicBezTo>
                          <a:cubicBezTo>
                            <a:pt x="126" y="151"/>
                            <a:pt x="124" y="151"/>
                            <a:pt x="122" y="150"/>
                          </a:cubicBezTo>
                          <a:cubicBezTo>
                            <a:pt x="121" y="149"/>
                            <a:pt x="119" y="148"/>
                            <a:pt x="118" y="147"/>
                          </a:cubicBezTo>
                          <a:cubicBezTo>
                            <a:pt x="117" y="146"/>
                            <a:pt x="115" y="146"/>
                            <a:pt x="114" y="146"/>
                          </a:cubicBezTo>
                          <a:cubicBezTo>
                            <a:pt x="113" y="146"/>
                            <a:pt x="113" y="145"/>
                            <a:pt x="111" y="147"/>
                          </a:cubicBezTo>
                          <a:cubicBezTo>
                            <a:pt x="110" y="150"/>
                            <a:pt x="111" y="151"/>
                            <a:pt x="109" y="150"/>
                          </a:cubicBezTo>
                          <a:cubicBezTo>
                            <a:pt x="106" y="150"/>
                            <a:pt x="109" y="150"/>
                            <a:pt x="110" y="147"/>
                          </a:cubicBezTo>
                          <a:cubicBezTo>
                            <a:pt x="112" y="145"/>
                            <a:pt x="110" y="143"/>
                            <a:pt x="108" y="144"/>
                          </a:cubicBezTo>
                          <a:cubicBezTo>
                            <a:pt x="107" y="144"/>
                            <a:pt x="108" y="146"/>
                            <a:pt x="105" y="146"/>
                          </a:cubicBezTo>
                          <a:cubicBezTo>
                            <a:pt x="102" y="147"/>
                            <a:pt x="102" y="145"/>
                            <a:pt x="104" y="144"/>
                          </a:cubicBezTo>
                          <a:cubicBezTo>
                            <a:pt x="106" y="144"/>
                            <a:pt x="109" y="142"/>
                            <a:pt x="109" y="141"/>
                          </a:cubicBezTo>
                          <a:cubicBezTo>
                            <a:pt x="109" y="141"/>
                            <a:pt x="109" y="138"/>
                            <a:pt x="107" y="138"/>
                          </a:cubicBezTo>
                          <a:cubicBezTo>
                            <a:pt x="106" y="138"/>
                            <a:pt x="106" y="136"/>
                            <a:pt x="104" y="134"/>
                          </a:cubicBezTo>
                          <a:cubicBezTo>
                            <a:pt x="102" y="131"/>
                            <a:pt x="99" y="128"/>
                            <a:pt x="97" y="128"/>
                          </a:cubicBezTo>
                          <a:cubicBezTo>
                            <a:pt x="95" y="129"/>
                            <a:pt x="94" y="131"/>
                            <a:pt x="92" y="128"/>
                          </a:cubicBezTo>
                          <a:cubicBezTo>
                            <a:pt x="91" y="126"/>
                            <a:pt x="90" y="126"/>
                            <a:pt x="90" y="124"/>
                          </a:cubicBezTo>
                          <a:cubicBezTo>
                            <a:pt x="89" y="123"/>
                            <a:pt x="87" y="124"/>
                            <a:pt x="87" y="124"/>
                          </a:cubicBezTo>
                          <a:cubicBezTo>
                            <a:pt x="86" y="123"/>
                            <a:pt x="86" y="123"/>
                            <a:pt x="86" y="123"/>
                          </a:cubicBezTo>
                          <a:cubicBezTo>
                            <a:pt x="86" y="123"/>
                            <a:pt x="84" y="124"/>
                            <a:pt x="85" y="122"/>
                          </a:cubicBezTo>
                          <a:cubicBezTo>
                            <a:pt x="86" y="120"/>
                            <a:pt x="87" y="116"/>
                            <a:pt x="86" y="117"/>
                          </a:cubicBezTo>
                          <a:cubicBezTo>
                            <a:pt x="86" y="117"/>
                            <a:pt x="85" y="120"/>
                            <a:pt x="84" y="119"/>
                          </a:cubicBezTo>
                          <a:cubicBezTo>
                            <a:pt x="83" y="119"/>
                            <a:pt x="84" y="119"/>
                            <a:pt x="82" y="118"/>
                          </a:cubicBezTo>
                          <a:cubicBezTo>
                            <a:pt x="80" y="116"/>
                            <a:pt x="78" y="117"/>
                            <a:pt x="78" y="118"/>
                          </a:cubicBezTo>
                          <a:cubicBezTo>
                            <a:pt x="78" y="119"/>
                            <a:pt x="77" y="120"/>
                            <a:pt x="77" y="120"/>
                          </a:cubicBezTo>
                          <a:cubicBezTo>
                            <a:pt x="77" y="120"/>
                            <a:pt x="77" y="120"/>
                            <a:pt x="76" y="118"/>
                          </a:cubicBezTo>
                          <a:cubicBezTo>
                            <a:pt x="76" y="117"/>
                            <a:pt x="73" y="117"/>
                            <a:pt x="72" y="118"/>
                          </a:cubicBezTo>
                          <a:cubicBezTo>
                            <a:pt x="71" y="119"/>
                            <a:pt x="70" y="115"/>
                            <a:pt x="69" y="115"/>
                          </a:cubicBezTo>
                          <a:cubicBezTo>
                            <a:pt x="69" y="115"/>
                            <a:pt x="67" y="116"/>
                            <a:pt x="66" y="118"/>
                          </a:cubicBezTo>
                          <a:cubicBezTo>
                            <a:pt x="65" y="120"/>
                            <a:pt x="66" y="122"/>
                            <a:pt x="65" y="122"/>
                          </a:cubicBezTo>
                          <a:cubicBezTo>
                            <a:pt x="64" y="122"/>
                            <a:pt x="64" y="118"/>
                            <a:pt x="64" y="117"/>
                          </a:cubicBezTo>
                          <a:cubicBezTo>
                            <a:pt x="65" y="116"/>
                            <a:pt x="66" y="114"/>
                            <a:pt x="65" y="113"/>
                          </a:cubicBezTo>
                          <a:cubicBezTo>
                            <a:pt x="64" y="113"/>
                            <a:pt x="62" y="116"/>
                            <a:pt x="61" y="116"/>
                          </a:cubicBezTo>
                          <a:cubicBezTo>
                            <a:pt x="60" y="116"/>
                            <a:pt x="59" y="117"/>
                            <a:pt x="58" y="119"/>
                          </a:cubicBezTo>
                          <a:cubicBezTo>
                            <a:pt x="57" y="120"/>
                            <a:pt x="56" y="121"/>
                            <a:pt x="55" y="122"/>
                          </a:cubicBezTo>
                          <a:cubicBezTo>
                            <a:pt x="55" y="123"/>
                            <a:pt x="53" y="122"/>
                            <a:pt x="53" y="121"/>
                          </a:cubicBezTo>
                          <a:cubicBezTo>
                            <a:pt x="54" y="121"/>
                            <a:pt x="51" y="119"/>
                            <a:pt x="50" y="119"/>
                          </a:cubicBezTo>
                          <a:cubicBezTo>
                            <a:pt x="50" y="120"/>
                            <a:pt x="49" y="121"/>
                            <a:pt x="47" y="121"/>
                          </a:cubicBezTo>
                          <a:cubicBezTo>
                            <a:pt x="46" y="122"/>
                            <a:pt x="45" y="120"/>
                            <a:pt x="44" y="120"/>
                          </a:cubicBezTo>
                          <a:cubicBezTo>
                            <a:pt x="44" y="119"/>
                            <a:pt x="43" y="119"/>
                            <a:pt x="43" y="116"/>
                          </a:cubicBezTo>
                          <a:cubicBezTo>
                            <a:pt x="43" y="113"/>
                            <a:pt x="43" y="111"/>
                            <a:pt x="44" y="109"/>
                          </a:cubicBezTo>
                          <a:cubicBezTo>
                            <a:pt x="44" y="107"/>
                            <a:pt x="42" y="104"/>
                            <a:pt x="41" y="104"/>
                          </a:cubicBezTo>
                          <a:cubicBezTo>
                            <a:pt x="40" y="105"/>
                            <a:pt x="39" y="106"/>
                            <a:pt x="38" y="106"/>
                          </a:cubicBezTo>
                          <a:cubicBezTo>
                            <a:pt x="37" y="106"/>
                            <a:pt x="37" y="105"/>
                            <a:pt x="35" y="105"/>
                          </a:cubicBezTo>
                          <a:cubicBezTo>
                            <a:pt x="34" y="105"/>
                            <a:pt x="35" y="105"/>
                            <a:pt x="35" y="103"/>
                          </a:cubicBezTo>
                          <a:cubicBezTo>
                            <a:pt x="36" y="101"/>
                            <a:pt x="35" y="99"/>
                            <a:pt x="36" y="97"/>
                          </a:cubicBezTo>
                          <a:cubicBezTo>
                            <a:pt x="38" y="96"/>
                            <a:pt x="37" y="92"/>
                            <a:pt x="36" y="92"/>
                          </a:cubicBezTo>
                          <a:cubicBezTo>
                            <a:pt x="35" y="92"/>
                            <a:pt x="34" y="92"/>
                            <a:pt x="32" y="92"/>
                          </a:cubicBezTo>
                          <a:cubicBezTo>
                            <a:pt x="31" y="92"/>
                            <a:pt x="30" y="94"/>
                            <a:pt x="31" y="95"/>
                          </a:cubicBezTo>
                          <a:cubicBezTo>
                            <a:pt x="31" y="97"/>
                            <a:pt x="30" y="98"/>
                            <a:pt x="29" y="98"/>
                          </a:cubicBezTo>
                          <a:cubicBezTo>
                            <a:pt x="29" y="98"/>
                            <a:pt x="28" y="97"/>
                            <a:pt x="27" y="99"/>
                          </a:cubicBezTo>
                          <a:cubicBezTo>
                            <a:pt x="25" y="100"/>
                            <a:pt x="25" y="100"/>
                            <a:pt x="23" y="98"/>
                          </a:cubicBezTo>
                          <a:cubicBezTo>
                            <a:pt x="22" y="96"/>
                            <a:pt x="20" y="94"/>
                            <a:pt x="20" y="92"/>
                          </a:cubicBezTo>
                          <a:cubicBezTo>
                            <a:pt x="20" y="89"/>
                            <a:pt x="20" y="86"/>
                            <a:pt x="20" y="85"/>
                          </a:cubicBezTo>
                          <a:cubicBezTo>
                            <a:pt x="21" y="83"/>
                            <a:pt x="21" y="81"/>
                            <a:pt x="20" y="80"/>
                          </a:cubicBezTo>
                          <a:cubicBezTo>
                            <a:pt x="19" y="80"/>
                            <a:pt x="21" y="78"/>
                            <a:pt x="22" y="77"/>
                          </a:cubicBezTo>
                          <a:cubicBezTo>
                            <a:pt x="23" y="77"/>
                            <a:pt x="25" y="75"/>
                            <a:pt x="25" y="74"/>
                          </a:cubicBezTo>
                          <a:cubicBezTo>
                            <a:pt x="25" y="74"/>
                            <a:pt x="26" y="74"/>
                            <a:pt x="28" y="74"/>
                          </a:cubicBezTo>
                          <a:cubicBezTo>
                            <a:pt x="30" y="74"/>
                            <a:pt x="30" y="74"/>
                            <a:pt x="31" y="75"/>
                          </a:cubicBezTo>
                          <a:cubicBezTo>
                            <a:pt x="33" y="76"/>
                            <a:pt x="33" y="74"/>
                            <a:pt x="33" y="74"/>
                          </a:cubicBezTo>
                          <a:cubicBezTo>
                            <a:pt x="33" y="73"/>
                            <a:pt x="34" y="72"/>
                            <a:pt x="36" y="73"/>
                          </a:cubicBezTo>
                          <a:cubicBezTo>
                            <a:pt x="37" y="73"/>
                            <a:pt x="40" y="71"/>
                            <a:pt x="40" y="71"/>
                          </a:cubicBezTo>
                          <a:cubicBezTo>
                            <a:pt x="40" y="72"/>
                            <a:pt x="41" y="74"/>
                            <a:pt x="42" y="74"/>
                          </a:cubicBezTo>
                          <a:cubicBezTo>
                            <a:pt x="43" y="73"/>
                            <a:pt x="43" y="71"/>
                            <a:pt x="44" y="74"/>
                          </a:cubicBezTo>
                          <a:cubicBezTo>
                            <a:pt x="44" y="76"/>
                            <a:pt x="45" y="80"/>
                            <a:pt x="46" y="80"/>
                          </a:cubicBezTo>
                          <a:cubicBezTo>
                            <a:pt x="47" y="81"/>
                            <a:pt x="46" y="83"/>
                            <a:pt x="48" y="83"/>
                          </a:cubicBezTo>
                          <a:cubicBezTo>
                            <a:pt x="49" y="83"/>
                            <a:pt x="50" y="79"/>
                            <a:pt x="49" y="78"/>
                          </a:cubicBezTo>
                          <a:cubicBezTo>
                            <a:pt x="49" y="77"/>
                            <a:pt x="48" y="73"/>
                            <a:pt x="47" y="72"/>
                          </a:cubicBezTo>
                          <a:cubicBezTo>
                            <a:pt x="47" y="71"/>
                            <a:pt x="48" y="68"/>
                            <a:pt x="50" y="67"/>
                          </a:cubicBezTo>
                          <a:cubicBezTo>
                            <a:pt x="51" y="66"/>
                            <a:pt x="54" y="62"/>
                            <a:pt x="55" y="61"/>
                          </a:cubicBezTo>
                          <a:cubicBezTo>
                            <a:pt x="56" y="60"/>
                            <a:pt x="60" y="59"/>
                            <a:pt x="59" y="58"/>
                          </a:cubicBezTo>
                          <a:cubicBezTo>
                            <a:pt x="58" y="56"/>
                            <a:pt x="57" y="55"/>
                            <a:pt x="57" y="53"/>
                          </a:cubicBezTo>
                          <a:cubicBezTo>
                            <a:pt x="57" y="52"/>
                            <a:pt x="58" y="53"/>
                            <a:pt x="58" y="53"/>
                          </a:cubicBezTo>
                          <a:cubicBezTo>
                            <a:pt x="59" y="54"/>
                            <a:pt x="61" y="52"/>
                            <a:pt x="60" y="51"/>
                          </a:cubicBezTo>
                          <a:cubicBezTo>
                            <a:pt x="60" y="50"/>
                            <a:pt x="60" y="49"/>
                            <a:pt x="61" y="49"/>
                          </a:cubicBezTo>
                          <a:cubicBezTo>
                            <a:pt x="62" y="49"/>
                            <a:pt x="63" y="48"/>
                            <a:pt x="62" y="47"/>
                          </a:cubicBezTo>
                          <a:cubicBezTo>
                            <a:pt x="62" y="46"/>
                            <a:pt x="64" y="45"/>
                            <a:pt x="65" y="46"/>
                          </a:cubicBezTo>
                          <a:cubicBezTo>
                            <a:pt x="66" y="46"/>
                            <a:pt x="69" y="46"/>
                            <a:pt x="70" y="45"/>
                          </a:cubicBezTo>
                          <a:cubicBezTo>
                            <a:pt x="70" y="45"/>
                            <a:pt x="68" y="43"/>
                            <a:pt x="68" y="42"/>
                          </a:cubicBezTo>
                          <a:cubicBezTo>
                            <a:pt x="68" y="40"/>
                            <a:pt x="70" y="39"/>
                            <a:pt x="72" y="38"/>
                          </a:cubicBezTo>
                          <a:cubicBezTo>
                            <a:pt x="73" y="38"/>
                            <a:pt x="74" y="38"/>
                            <a:pt x="74" y="38"/>
                          </a:cubicBezTo>
                          <a:cubicBezTo>
                            <a:pt x="75" y="37"/>
                            <a:pt x="76" y="35"/>
                            <a:pt x="76" y="37"/>
                          </a:cubicBezTo>
                          <a:cubicBezTo>
                            <a:pt x="76" y="38"/>
                            <a:pt x="76" y="40"/>
                            <a:pt x="77" y="40"/>
                          </a:cubicBezTo>
                          <a:cubicBezTo>
                            <a:pt x="79" y="40"/>
                            <a:pt x="80" y="38"/>
                            <a:pt x="81" y="38"/>
                          </a:cubicBezTo>
                          <a:cubicBezTo>
                            <a:pt x="81" y="38"/>
                            <a:pt x="85" y="37"/>
                            <a:pt x="85" y="37"/>
                          </a:cubicBezTo>
                          <a:cubicBezTo>
                            <a:pt x="86" y="37"/>
                            <a:pt x="90" y="36"/>
                            <a:pt x="90" y="35"/>
                          </a:cubicBezTo>
                          <a:cubicBezTo>
                            <a:pt x="89" y="34"/>
                            <a:pt x="89" y="32"/>
                            <a:pt x="88" y="32"/>
                          </a:cubicBezTo>
                          <a:cubicBezTo>
                            <a:pt x="88" y="31"/>
                            <a:pt x="87" y="32"/>
                            <a:pt x="86" y="33"/>
                          </a:cubicBezTo>
                          <a:cubicBezTo>
                            <a:pt x="86" y="34"/>
                            <a:pt x="85" y="34"/>
                            <a:pt x="84" y="33"/>
                          </a:cubicBezTo>
                          <a:cubicBezTo>
                            <a:pt x="84" y="32"/>
                            <a:pt x="85" y="30"/>
                            <a:pt x="83" y="31"/>
                          </a:cubicBezTo>
                          <a:cubicBezTo>
                            <a:pt x="82" y="32"/>
                            <a:pt x="82" y="32"/>
                            <a:pt x="81" y="32"/>
                          </a:cubicBezTo>
                          <a:cubicBezTo>
                            <a:pt x="81" y="32"/>
                            <a:pt x="80" y="30"/>
                            <a:pt x="80" y="30"/>
                          </a:cubicBezTo>
                          <a:cubicBezTo>
                            <a:pt x="80" y="30"/>
                            <a:pt x="82" y="29"/>
                            <a:pt x="81" y="28"/>
                          </a:cubicBezTo>
                          <a:cubicBezTo>
                            <a:pt x="80" y="26"/>
                            <a:pt x="78" y="27"/>
                            <a:pt x="77" y="28"/>
                          </a:cubicBezTo>
                          <a:cubicBezTo>
                            <a:pt x="75" y="29"/>
                            <a:pt x="75" y="29"/>
                            <a:pt x="73" y="29"/>
                          </a:cubicBezTo>
                          <a:cubicBezTo>
                            <a:pt x="71" y="30"/>
                            <a:pt x="70" y="30"/>
                            <a:pt x="70" y="30"/>
                          </a:cubicBezTo>
                          <a:cubicBezTo>
                            <a:pt x="70" y="30"/>
                            <a:pt x="71" y="28"/>
                            <a:pt x="72" y="26"/>
                          </a:cubicBezTo>
                          <a:cubicBezTo>
                            <a:pt x="73" y="25"/>
                            <a:pt x="77" y="25"/>
                            <a:pt x="78" y="24"/>
                          </a:cubicBezTo>
                          <a:cubicBezTo>
                            <a:pt x="79" y="23"/>
                            <a:pt x="81" y="25"/>
                            <a:pt x="81" y="25"/>
                          </a:cubicBezTo>
                          <a:cubicBezTo>
                            <a:pt x="81" y="25"/>
                            <a:pt x="83" y="23"/>
                            <a:pt x="83" y="24"/>
                          </a:cubicBezTo>
                          <a:cubicBezTo>
                            <a:pt x="83" y="25"/>
                            <a:pt x="82" y="27"/>
                            <a:pt x="83" y="27"/>
                          </a:cubicBezTo>
                          <a:cubicBezTo>
                            <a:pt x="84" y="27"/>
                            <a:pt x="87" y="26"/>
                            <a:pt x="86" y="25"/>
                          </a:cubicBezTo>
                          <a:cubicBezTo>
                            <a:pt x="85" y="25"/>
                            <a:pt x="87" y="24"/>
                            <a:pt x="88" y="23"/>
                          </a:cubicBezTo>
                          <a:cubicBezTo>
                            <a:pt x="89" y="22"/>
                            <a:pt x="91" y="23"/>
                            <a:pt x="92" y="23"/>
                          </a:cubicBezTo>
                          <a:cubicBezTo>
                            <a:pt x="92" y="23"/>
                            <a:pt x="93" y="21"/>
                            <a:pt x="94" y="21"/>
                          </a:cubicBezTo>
                          <a:cubicBezTo>
                            <a:pt x="95" y="21"/>
                            <a:pt x="96" y="22"/>
                            <a:pt x="94" y="24"/>
                          </a:cubicBezTo>
                          <a:cubicBezTo>
                            <a:pt x="92" y="25"/>
                            <a:pt x="92" y="28"/>
                            <a:pt x="91" y="28"/>
                          </a:cubicBezTo>
                          <a:cubicBezTo>
                            <a:pt x="90" y="29"/>
                            <a:pt x="91" y="30"/>
                            <a:pt x="92" y="30"/>
                          </a:cubicBezTo>
                          <a:cubicBezTo>
                            <a:pt x="93" y="30"/>
                            <a:pt x="95" y="30"/>
                            <a:pt x="96" y="30"/>
                          </a:cubicBezTo>
                          <a:cubicBezTo>
                            <a:pt x="97" y="29"/>
                            <a:pt x="98" y="30"/>
                            <a:pt x="98" y="30"/>
                          </a:cubicBezTo>
                          <a:cubicBezTo>
                            <a:pt x="98" y="31"/>
                            <a:pt x="99" y="30"/>
                            <a:pt x="99" y="30"/>
                          </a:cubicBezTo>
                          <a:cubicBezTo>
                            <a:pt x="99" y="30"/>
                            <a:pt x="102" y="29"/>
                            <a:pt x="102" y="30"/>
                          </a:cubicBezTo>
                          <a:cubicBezTo>
                            <a:pt x="103" y="31"/>
                            <a:pt x="103" y="29"/>
                            <a:pt x="103" y="29"/>
                          </a:cubicBezTo>
                          <a:cubicBezTo>
                            <a:pt x="102" y="28"/>
                            <a:pt x="102" y="27"/>
                            <a:pt x="101" y="26"/>
                          </a:cubicBezTo>
                          <a:cubicBezTo>
                            <a:pt x="101" y="24"/>
                            <a:pt x="100" y="24"/>
                            <a:pt x="99" y="25"/>
                          </a:cubicBezTo>
                          <a:cubicBezTo>
                            <a:pt x="98" y="25"/>
                            <a:pt x="97" y="24"/>
                            <a:pt x="96" y="24"/>
                          </a:cubicBezTo>
                          <a:cubicBezTo>
                            <a:pt x="96" y="23"/>
                            <a:pt x="95" y="24"/>
                            <a:pt x="96" y="23"/>
                          </a:cubicBezTo>
                          <a:cubicBezTo>
                            <a:pt x="96" y="22"/>
                            <a:pt x="97" y="21"/>
                            <a:pt x="97" y="20"/>
                          </a:cubicBezTo>
                          <a:cubicBezTo>
                            <a:pt x="98" y="19"/>
                            <a:pt x="100" y="17"/>
                            <a:pt x="98" y="17"/>
                          </a:cubicBezTo>
                          <a:cubicBezTo>
                            <a:pt x="96" y="16"/>
                            <a:pt x="95" y="16"/>
                            <a:pt x="95" y="15"/>
                          </a:cubicBezTo>
                          <a:cubicBezTo>
                            <a:pt x="95" y="14"/>
                            <a:pt x="92" y="12"/>
                            <a:pt x="92" y="12"/>
                          </a:cubicBezTo>
                          <a:cubicBezTo>
                            <a:pt x="91" y="12"/>
                            <a:pt x="88" y="13"/>
                            <a:pt x="88" y="12"/>
                          </a:cubicBezTo>
                          <a:cubicBezTo>
                            <a:pt x="88" y="11"/>
                            <a:pt x="87" y="8"/>
                            <a:pt x="86" y="8"/>
                          </a:cubicBezTo>
                          <a:cubicBezTo>
                            <a:pt x="86" y="7"/>
                            <a:pt x="83" y="3"/>
                            <a:pt x="82" y="3"/>
                          </a:cubicBezTo>
                          <a:cubicBezTo>
                            <a:pt x="82" y="3"/>
                            <a:pt x="81" y="3"/>
                            <a:pt x="80" y="5"/>
                          </a:cubicBezTo>
                          <a:cubicBezTo>
                            <a:pt x="78" y="7"/>
                            <a:pt x="77" y="7"/>
                            <a:pt x="76" y="7"/>
                          </a:cubicBezTo>
                          <a:cubicBezTo>
                            <a:pt x="75" y="7"/>
                            <a:pt x="73" y="7"/>
                            <a:pt x="73" y="6"/>
                          </a:cubicBezTo>
                          <a:cubicBezTo>
                            <a:pt x="72" y="5"/>
                            <a:pt x="75" y="4"/>
                            <a:pt x="74" y="3"/>
                          </a:cubicBezTo>
                          <a:cubicBezTo>
                            <a:pt x="74" y="2"/>
                            <a:pt x="72" y="2"/>
                            <a:pt x="70" y="2"/>
                          </a:cubicBezTo>
                          <a:cubicBezTo>
                            <a:pt x="69" y="2"/>
                            <a:pt x="68" y="0"/>
                            <a:pt x="65" y="0"/>
                          </a:cubicBezTo>
                          <a:cubicBezTo>
                            <a:pt x="63" y="0"/>
                            <a:pt x="60" y="1"/>
                            <a:pt x="60" y="1"/>
                          </a:cubicBezTo>
                          <a:cubicBezTo>
                            <a:pt x="59" y="1"/>
                            <a:pt x="59" y="2"/>
                            <a:pt x="58" y="4"/>
                          </a:cubicBezTo>
                          <a:cubicBezTo>
                            <a:pt x="58" y="6"/>
                            <a:pt x="59" y="6"/>
                            <a:pt x="58" y="7"/>
                          </a:cubicBezTo>
                          <a:cubicBezTo>
                            <a:pt x="56" y="7"/>
                            <a:pt x="56" y="7"/>
                            <a:pt x="57" y="8"/>
                          </a:cubicBezTo>
                          <a:cubicBezTo>
                            <a:pt x="58" y="9"/>
                            <a:pt x="60" y="11"/>
                            <a:pt x="60" y="11"/>
                          </a:cubicBezTo>
                          <a:cubicBezTo>
                            <a:pt x="60" y="11"/>
                            <a:pt x="59" y="13"/>
                            <a:pt x="58" y="14"/>
                          </a:cubicBezTo>
                          <a:cubicBezTo>
                            <a:pt x="57" y="15"/>
                            <a:pt x="56" y="16"/>
                            <a:pt x="56" y="15"/>
                          </a:cubicBezTo>
                          <a:cubicBezTo>
                            <a:pt x="55" y="14"/>
                            <a:pt x="53" y="14"/>
                            <a:pt x="54" y="15"/>
                          </a:cubicBezTo>
                          <a:cubicBezTo>
                            <a:pt x="54" y="16"/>
                            <a:pt x="55" y="16"/>
                            <a:pt x="55" y="17"/>
                          </a:cubicBezTo>
                          <a:cubicBezTo>
                            <a:pt x="55" y="19"/>
                            <a:pt x="56" y="21"/>
                            <a:pt x="55" y="22"/>
                          </a:cubicBezTo>
                          <a:cubicBezTo>
                            <a:pt x="54" y="23"/>
                            <a:pt x="53" y="22"/>
                            <a:pt x="52" y="23"/>
                          </a:cubicBezTo>
                          <a:cubicBezTo>
                            <a:pt x="51" y="23"/>
                            <a:pt x="51" y="21"/>
                            <a:pt x="51" y="21"/>
                          </a:cubicBezTo>
                          <a:cubicBezTo>
                            <a:pt x="52" y="21"/>
                            <a:pt x="51" y="18"/>
                            <a:pt x="51" y="18"/>
                          </a:cubicBezTo>
                          <a:cubicBezTo>
                            <a:pt x="51" y="18"/>
                            <a:pt x="49" y="21"/>
                            <a:pt x="50" y="19"/>
                          </a:cubicBezTo>
                          <a:cubicBezTo>
                            <a:pt x="50" y="18"/>
                            <a:pt x="49" y="18"/>
                            <a:pt x="49" y="17"/>
                          </a:cubicBezTo>
                          <a:cubicBezTo>
                            <a:pt x="49" y="15"/>
                            <a:pt x="48" y="14"/>
                            <a:pt x="47" y="14"/>
                          </a:cubicBezTo>
                          <a:cubicBezTo>
                            <a:pt x="46" y="15"/>
                            <a:pt x="44" y="15"/>
                            <a:pt x="42" y="15"/>
                          </a:cubicBezTo>
                          <a:cubicBezTo>
                            <a:pt x="39" y="14"/>
                            <a:pt x="39" y="14"/>
                            <a:pt x="37" y="13"/>
                          </a:cubicBezTo>
                          <a:cubicBezTo>
                            <a:pt x="35" y="12"/>
                            <a:pt x="34" y="13"/>
                            <a:pt x="33" y="13"/>
                          </a:cubicBezTo>
                          <a:cubicBezTo>
                            <a:pt x="32" y="14"/>
                            <a:pt x="32" y="12"/>
                            <a:pt x="32" y="12"/>
                          </a:cubicBezTo>
                          <a:cubicBezTo>
                            <a:pt x="17" y="30"/>
                            <a:pt x="6" y="53"/>
                            <a:pt x="0" y="77"/>
                          </a:cubicBezTo>
                          <a:cubicBezTo>
                            <a:pt x="1" y="78"/>
                            <a:pt x="2" y="80"/>
                            <a:pt x="2" y="80"/>
                          </a:cubicBezTo>
                          <a:cubicBezTo>
                            <a:pt x="3" y="82"/>
                            <a:pt x="5" y="87"/>
                            <a:pt x="6" y="87"/>
                          </a:cubicBezTo>
                          <a:cubicBezTo>
                            <a:pt x="6" y="87"/>
                            <a:pt x="8" y="90"/>
                            <a:pt x="8" y="90"/>
                          </a:cubicBezTo>
                          <a:cubicBezTo>
                            <a:pt x="8" y="90"/>
                            <a:pt x="9" y="92"/>
                            <a:pt x="8" y="93"/>
                          </a:cubicBezTo>
                          <a:cubicBezTo>
                            <a:pt x="8" y="94"/>
                            <a:pt x="9" y="96"/>
                            <a:pt x="10" y="97"/>
                          </a:cubicBezTo>
                          <a:cubicBezTo>
                            <a:pt x="10" y="98"/>
                            <a:pt x="14" y="98"/>
                            <a:pt x="14" y="101"/>
                          </a:cubicBezTo>
                          <a:cubicBezTo>
                            <a:pt x="14" y="101"/>
                            <a:pt x="15" y="105"/>
                            <a:pt x="16" y="105"/>
                          </a:cubicBezTo>
                          <a:cubicBezTo>
                            <a:pt x="18" y="105"/>
                            <a:pt x="20" y="104"/>
                            <a:pt x="20" y="105"/>
                          </a:cubicBezTo>
                          <a:cubicBezTo>
                            <a:pt x="20" y="105"/>
                            <a:pt x="22" y="108"/>
                            <a:pt x="22" y="106"/>
                          </a:cubicBezTo>
                          <a:cubicBezTo>
                            <a:pt x="23" y="105"/>
                            <a:pt x="23" y="104"/>
                            <a:pt x="24" y="104"/>
                          </a:cubicBezTo>
                          <a:cubicBezTo>
                            <a:pt x="26" y="104"/>
                            <a:pt x="26" y="106"/>
                            <a:pt x="27" y="107"/>
                          </a:cubicBezTo>
                          <a:cubicBezTo>
                            <a:pt x="28" y="108"/>
                            <a:pt x="30" y="110"/>
                            <a:pt x="31" y="110"/>
                          </a:cubicBezTo>
                          <a:cubicBezTo>
                            <a:pt x="31" y="110"/>
                            <a:pt x="33" y="112"/>
                            <a:pt x="33" y="111"/>
                          </a:cubicBezTo>
                          <a:cubicBezTo>
                            <a:pt x="34" y="111"/>
                            <a:pt x="35" y="112"/>
                            <a:pt x="36" y="112"/>
                          </a:cubicBezTo>
                          <a:cubicBezTo>
                            <a:pt x="36" y="112"/>
                            <a:pt x="38" y="114"/>
                            <a:pt x="38" y="116"/>
                          </a:cubicBezTo>
                          <a:cubicBezTo>
                            <a:pt x="37" y="119"/>
                            <a:pt x="40" y="119"/>
                            <a:pt x="40" y="120"/>
                          </a:cubicBezTo>
                          <a:cubicBezTo>
                            <a:pt x="41" y="120"/>
                            <a:pt x="43" y="122"/>
                            <a:pt x="43" y="123"/>
                          </a:cubicBezTo>
                          <a:cubicBezTo>
                            <a:pt x="44" y="124"/>
                            <a:pt x="46" y="124"/>
                            <a:pt x="46" y="125"/>
                          </a:cubicBezTo>
                          <a:cubicBezTo>
                            <a:pt x="47" y="125"/>
                            <a:pt x="47" y="126"/>
                            <a:pt x="48" y="125"/>
                          </a:cubicBezTo>
                          <a:cubicBezTo>
                            <a:pt x="50" y="125"/>
                            <a:pt x="49" y="123"/>
                            <a:pt x="49" y="123"/>
                          </a:cubicBezTo>
                          <a:cubicBezTo>
                            <a:pt x="49" y="123"/>
                            <a:pt x="51" y="122"/>
                            <a:pt x="52" y="123"/>
                          </a:cubicBezTo>
                          <a:cubicBezTo>
                            <a:pt x="52" y="124"/>
                            <a:pt x="53" y="127"/>
                            <a:pt x="53" y="127"/>
                          </a:cubicBezTo>
                          <a:cubicBezTo>
                            <a:pt x="54" y="127"/>
                            <a:pt x="55" y="130"/>
                            <a:pt x="54" y="133"/>
                          </a:cubicBezTo>
                          <a:cubicBezTo>
                            <a:pt x="54" y="135"/>
                            <a:pt x="54" y="137"/>
                            <a:pt x="53" y="137"/>
                          </a:cubicBezTo>
                          <a:cubicBezTo>
                            <a:pt x="53" y="137"/>
                            <a:pt x="51" y="139"/>
                            <a:pt x="50" y="139"/>
                          </a:cubicBezTo>
                          <a:cubicBezTo>
                            <a:pt x="49" y="140"/>
                            <a:pt x="48" y="143"/>
                            <a:pt x="48" y="144"/>
                          </a:cubicBezTo>
                          <a:cubicBezTo>
                            <a:pt x="48" y="145"/>
                            <a:pt x="49" y="148"/>
                            <a:pt x="49" y="150"/>
                          </a:cubicBezTo>
                          <a:cubicBezTo>
                            <a:pt x="49" y="151"/>
                            <a:pt x="48" y="152"/>
                            <a:pt x="48" y="154"/>
                          </a:cubicBezTo>
                          <a:cubicBezTo>
                            <a:pt x="49" y="157"/>
                            <a:pt x="52" y="157"/>
                            <a:pt x="52" y="159"/>
                          </a:cubicBezTo>
                          <a:cubicBezTo>
                            <a:pt x="52" y="161"/>
                            <a:pt x="55" y="166"/>
                            <a:pt x="55" y="167"/>
                          </a:cubicBezTo>
                          <a:cubicBezTo>
                            <a:pt x="56" y="169"/>
                            <a:pt x="58" y="172"/>
                            <a:pt x="58" y="174"/>
                          </a:cubicBezTo>
                          <a:cubicBezTo>
                            <a:pt x="58" y="177"/>
                            <a:pt x="63" y="179"/>
                            <a:pt x="64" y="179"/>
                          </a:cubicBezTo>
                          <a:cubicBezTo>
                            <a:pt x="64" y="179"/>
                            <a:pt x="66" y="181"/>
                            <a:pt x="67" y="181"/>
                          </a:cubicBezTo>
                          <a:cubicBezTo>
                            <a:pt x="68" y="182"/>
                            <a:pt x="69" y="183"/>
                            <a:pt x="70" y="185"/>
                          </a:cubicBezTo>
                          <a:cubicBezTo>
                            <a:pt x="71" y="186"/>
                            <a:pt x="71" y="188"/>
                            <a:pt x="71" y="189"/>
                          </a:cubicBezTo>
                          <a:cubicBezTo>
                            <a:pt x="71" y="189"/>
                            <a:pt x="71" y="195"/>
                            <a:pt x="71" y="198"/>
                          </a:cubicBezTo>
                          <a:cubicBezTo>
                            <a:pt x="71" y="201"/>
                            <a:pt x="73" y="204"/>
                            <a:pt x="72" y="205"/>
                          </a:cubicBezTo>
                          <a:cubicBezTo>
                            <a:pt x="71" y="205"/>
                            <a:pt x="69" y="206"/>
                            <a:pt x="70" y="207"/>
                          </a:cubicBezTo>
                          <a:cubicBezTo>
                            <a:pt x="71" y="208"/>
                            <a:pt x="70" y="208"/>
                            <a:pt x="70" y="209"/>
                          </a:cubicBezTo>
                          <a:cubicBezTo>
                            <a:pt x="70" y="209"/>
                            <a:pt x="71" y="212"/>
                            <a:pt x="71" y="213"/>
                          </a:cubicBezTo>
                          <a:cubicBezTo>
                            <a:pt x="70" y="214"/>
                            <a:pt x="70" y="216"/>
                            <a:pt x="70" y="217"/>
                          </a:cubicBezTo>
                          <a:cubicBezTo>
                            <a:pt x="69" y="217"/>
                            <a:pt x="68" y="218"/>
                            <a:pt x="69" y="220"/>
                          </a:cubicBezTo>
                          <a:cubicBezTo>
                            <a:pt x="69" y="221"/>
                            <a:pt x="68" y="221"/>
                            <a:pt x="68" y="222"/>
                          </a:cubicBezTo>
                          <a:cubicBezTo>
                            <a:pt x="68" y="223"/>
                            <a:pt x="70" y="223"/>
                            <a:pt x="70" y="224"/>
                          </a:cubicBezTo>
                          <a:cubicBezTo>
                            <a:pt x="69" y="226"/>
                            <a:pt x="69" y="226"/>
                            <a:pt x="69" y="227"/>
                          </a:cubicBezTo>
                          <a:cubicBezTo>
                            <a:pt x="69" y="229"/>
                            <a:pt x="70" y="230"/>
                            <a:pt x="70" y="231"/>
                          </a:cubicBezTo>
                          <a:cubicBezTo>
                            <a:pt x="70" y="231"/>
                            <a:pt x="70" y="232"/>
                            <a:pt x="69" y="233"/>
                          </a:cubicBezTo>
                          <a:cubicBezTo>
                            <a:pt x="68" y="234"/>
                            <a:pt x="68" y="235"/>
                            <a:pt x="68" y="236"/>
                          </a:cubicBezTo>
                          <a:cubicBezTo>
                            <a:pt x="68" y="236"/>
                            <a:pt x="69" y="237"/>
                            <a:pt x="69" y="238"/>
                          </a:cubicBezTo>
                          <a:cubicBezTo>
                            <a:pt x="69" y="238"/>
                            <a:pt x="68" y="239"/>
                            <a:pt x="69" y="240"/>
                          </a:cubicBezTo>
                          <a:cubicBezTo>
                            <a:pt x="69" y="241"/>
                            <a:pt x="70" y="241"/>
                            <a:pt x="71" y="241"/>
                          </a:cubicBezTo>
                          <a:cubicBezTo>
                            <a:pt x="71" y="242"/>
                            <a:pt x="69" y="242"/>
                            <a:pt x="70" y="243"/>
                          </a:cubicBezTo>
                          <a:cubicBezTo>
                            <a:pt x="71" y="244"/>
                            <a:pt x="72" y="243"/>
                            <a:pt x="72" y="245"/>
                          </a:cubicBezTo>
                          <a:cubicBezTo>
                            <a:pt x="72" y="245"/>
                            <a:pt x="73" y="246"/>
                            <a:pt x="73" y="246"/>
                          </a:cubicBezTo>
                          <a:cubicBezTo>
                            <a:pt x="73" y="246"/>
                            <a:pt x="74" y="246"/>
                            <a:pt x="74" y="246"/>
                          </a:cubicBezTo>
                          <a:cubicBezTo>
                            <a:pt x="74" y="247"/>
                            <a:pt x="75" y="247"/>
                            <a:pt x="75" y="247"/>
                          </a:cubicBezTo>
                          <a:cubicBezTo>
                            <a:pt x="75" y="247"/>
                            <a:pt x="77" y="248"/>
                            <a:pt x="77" y="248"/>
                          </a:cubicBezTo>
                          <a:close/>
                          <a:moveTo>
                            <a:pt x="55" y="38"/>
                          </a:moveTo>
                          <a:cubicBezTo>
                            <a:pt x="55" y="38"/>
                            <a:pt x="58" y="37"/>
                            <a:pt x="59" y="38"/>
                          </a:cubicBezTo>
                          <a:cubicBezTo>
                            <a:pt x="60" y="39"/>
                            <a:pt x="58" y="39"/>
                            <a:pt x="57" y="40"/>
                          </a:cubicBezTo>
                          <a:cubicBezTo>
                            <a:pt x="55" y="41"/>
                            <a:pt x="55" y="41"/>
                            <a:pt x="54" y="42"/>
                          </a:cubicBezTo>
                          <a:cubicBezTo>
                            <a:pt x="53" y="43"/>
                            <a:pt x="51" y="43"/>
                            <a:pt x="50" y="44"/>
                          </a:cubicBezTo>
                          <a:cubicBezTo>
                            <a:pt x="49" y="45"/>
                            <a:pt x="48" y="46"/>
                            <a:pt x="47" y="45"/>
                          </a:cubicBezTo>
                          <a:cubicBezTo>
                            <a:pt x="47" y="44"/>
                            <a:pt x="48" y="45"/>
                            <a:pt x="48" y="44"/>
                          </a:cubicBezTo>
                          <a:cubicBezTo>
                            <a:pt x="48" y="44"/>
                            <a:pt x="51" y="42"/>
                            <a:pt x="51" y="42"/>
                          </a:cubicBezTo>
                          <a:cubicBezTo>
                            <a:pt x="51" y="42"/>
                            <a:pt x="54" y="37"/>
                            <a:pt x="55" y="38"/>
                          </a:cubicBezTo>
                          <a:close/>
                          <a:moveTo>
                            <a:pt x="50" y="34"/>
                          </a:moveTo>
                          <a:cubicBezTo>
                            <a:pt x="51" y="34"/>
                            <a:pt x="53" y="37"/>
                            <a:pt x="52" y="37"/>
                          </a:cubicBezTo>
                          <a:cubicBezTo>
                            <a:pt x="51" y="38"/>
                            <a:pt x="50" y="37"/>
                            <a:pt x="50" y="35"/>
                          </a:cubicBezTo>
                          <a:cubicBezTo>
                            <a:pt x="50" y="34"/>
                            <a:pt x="49" y="38"/>
                            <a:pt x="49" y="39"/>
                          </a:cubicBezTo>
                          <a:cubicBezTo>
                            <a:pt x="50" y="40"/>
                            <a:pt x="48" y="42"/>
                            <a:pt x="48" y="42"/>
                          </a:cubicBezTo>
                          <a:cubicBezTo>
                            <a:pt x="47" y="42"/>
                            <a:pt x="47" y="40"/>
                            <a:pt x="47" y="38"/>
                          </a:cubicBezTo>
                          <a:cubicBezTo>
                            <a:pt x="47" y="37"/>
                            <a:pt x="46" y="35"/>
                            <a:pt x="45" y="35"/>
                          </a:cubicBezTo>
                          <a:cubicBezTo>
                            <a:pt x="43" y="36"/>
                            <a:pt x="42" y="38"/>
                            <a:pt x="41" y="38"/>
                          </a:cubicBezTo>
                          <a:cubicBezTo>
                            <a:pt x="41" y="39"/>
                            <a:pt x="41" y="42"/>
                            <a:pt x="41" y="43"/>
                          </a:cubicBezTo>
                          <a:cubicBezTo>
                            <a:pt x="41" y="43"/>
                            <a:pt x="41" y="46"/>
                            <a:pt x="39" y="46"/>
                          </a:cubicBezTo>
                          <a:cubicBezTo>
                            <a:pt x="38" y="46"/>
                            <a:pt x="38" y="43"/>
                            <a:pt x="39" y="42"/>
                          </a:cubicBezTo>
                          <a:cubicBezTo>
                            <a:pt x="39" y="40"/>
                            <a:pt x="38" y="38"/>
                            <a:pt x="39" y="36"/>
                          </a:cubicBezTo>
                          <a:cubicBezTo>
                            <a:pt x="40" y="35"/>
                            <a:pt x="42" y="34"/>
                            <a:pt x="43" y="34"/>
                          </a:cubicBezTo>
                          <a:cubicBezTo>
                            <a:pt x="44" y="33"/>
                            <a:pt x="46" y="34"/>
                            <a:pt x="47" y="34"/>
                          </a:cubicBezTo>
                          <a:cubicBezTo>
                            <a:pt x="47" y="34"/>
                            <a:pt x="49" y="34"/>
                            <a:pt x="50" y="34"/>
                          </a:cubicBezTo>
                          <a:close/>
                          <a:moveTo>
                            <a:pt x="36" y="30"/>
                          </a:moveTo>
                          <a:cubicBezTo>
                            <a:pt x="38" y="29"/>
                            <a:pt x="40" y="26"/>
                            <a:pt x="41" y="27"/>
                          </a:cubicBezTo>
                          <a:cubicBezTo>
                            <a:pt x="44" y="29"/>
                            <a:pt x="44" y="29"/>
                            <a:pt x="44" y="29"/>
                          </a:cubicBezTo>
                          <a:cubicBezTo>
                            <a:pt x="45" y="30"/>
                            <a:pt x="44" y="32"/>
                            <a:pt x="43" y="32"/>
                          </a:cubicBezTo>
                          <a:cubicBezTo>
                            <a:pt x="43" y="32"/>
                            <a:pt x="41" y="32"/>
                            <a:pt x="40" y="32"/>
                          </a:cubicBezTo>
                          <a:cubicBezTo>
                            <a:pt x="39" y="32"/>
                            <a:pt x="39" y="31"/>
                            <a:pt x="38" y="31"/>
                          </a:cubicBezTo>
                          <a:cubicBezTo>
                            <a:pt x="38" y="31"/>
                            <a:pt x="36" y="32"/>
                            <a:pt x="36" y="33"/>
                          </a:cubicBezTo>
                          <a:cubicBezTo>
                            <a:pt x="35" y="33"/>
                            <a:pt x="33" y="33"/>
                            <a:pt x="33" y="32"/>
                          </a:cubicBezTo>
                          <a:cubicBezTo>
                            <a:pt x="33" y="31"/>
                            <a:pt x="34" y="31"/>
                            <a:pt x="36"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2" name="ïşľïḑê"/>
                    <p:cNvSpPr/>
                    <p:nvPr/>
                  </p:nvSpPr>
                  <p:spPr bwMode="auto">
                    <a:xfrm>
                      <a:off x="5247990" y="4030001"/>
                      <a:ext cx="101420" cy="38169"/>
                    </a:xfrm>
                    <a:custGeom>
                      <a:avLst/>
                      <a:gdLst>
                        <a:gd name="T0" fmla="*/ 2 w 13"/>
                        <a:gd name="T1" fmla="*/ 4 h 5"/>
                        <a:gd name="T2" fmla="*/ 2 w 13"/>
                        <a:gd name="T3" fmla="*/ 5 h 5"/>
                        <a:gd name="T4" fmla="*/ 5 w 13"/>
                        <a:gd name="T5" fmla="*/ 4 h 5"/>
                        <a:gd name="T6" fmla="*/ 8 w 13"/>
                        <a:gd name="T7" fmla="*/ 3 h 5"/>
                        <a:gd name="T8" fmla="*/ 10 w 13"/>
                        <a:gd name="T9" fmla="*/ 5 h 5"/>
                        <a:gd name="T10" fmla="*/ 11 w 13"/>
                        <a:gd name="T11" fmla="*/ 3 h 5"/>
                        <a:gd name="T12" fmla="*/ 7 w 13"/>
                        <a:gd name="T13" fmla="*/ 1 h 5"/>
                        <a:gd name="T14" fmla="*/ 5 w 13"/>
                        <a:gd name="T15" fmla="*/ 0 h 5"/>
                        <a:gd name="T16" fmla="*/ 4 w 13"/>
                        <a:gd name="T17" fmla="*/ 1 h 5"/>
                        <a:gd name="T18" fmla="*/ 2 w 13"/>
                        <a:gd name="T19" fmla="*/ 3 h 5"/>
                        <a:gd name="T20" fmla="*/ 2 w 13"/>
                        <a:gd name="T2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5">
                          <a:moveTo>
                            <a:pt x="2" y="4"/>
                          </a:moveTo>
                          <a:cubicBezTo>
                            <a:pt x="0" y="5"/>
                            <a:pt x="1" y="5"/>
                            <a:pt x="2" y="5"/>
                          </a:cubicBezTo>
                          <a:cubicBezTo>
                            <a:pt x="3" y="5"/>
                            <a:pt x="5" y="4"/>
                            <a:pt x="5" y="4"/>
                          </a:cubicBezTo>
                          <a:cubicBezTo>
                            <a:pt x="5" y="4"/>
                            <a:pt x="8" y="2"/>
                            <a:pt x="8" y="3"/>
                          </a:cubicBezTo>
                          <a:cubicBezTo>
                            <a:pt x="9" y="4"/>
                            <a:pt x="8" y="5"/>
                            <a:pt x="10" y="5"/>
                          </a:cubicBezTo>
                          <a:cubicBezTo>
                            <a:pt x="11" y="5"/>
                            <a:pt x="13" y="4"/>
                            <a:pt x="11" y="3"/>
                          </a:cubicBezTo>
                          <a:cubicBezTo>
                            <a:pt x="9" y="2"/>
                            <a:pt x="8" y="2"/>
                            <a:pt x="7" y="1"/>
                          </a:cubicBezTo>
                          <a:cubicBezTo>
                            <a:pt x="6" y="0"/>
                            <a:pt x="6" y="0"/>
                            <a:pt x="5" y="0"/>
                          </a:cubicBezTo>
                          <a:cubicBezTo>
                            <a:pt x="5" y="1"/>
                            <a:pt x="5" y="1"/>
                            <a:pt x="4" y="1"/>
                          </a:cubicBezTo>
                          <a:cubicBezTo>
                            <a:pt x="4" y="1"/>
                            <a:pt x="3" y="2"/>
                            <a:pt x="2" y="3"/>
                          </a:cubicBezTo>
                          <a:cubicBezTo>
                            <a:pt x="2" y="3"/>
                            <a:pt x="2" y="3"/>
                            <a:pt x="2"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3" name="iŝḷíde"/>
                    <p:cNvSpPr/>
                    <p:nvPr/>
                  </p:nvSpPr>
                  <p:spPr bwMode="auto">
                    <a:xfrm>
                      <a:off x="5287250" y="4068170"/>
                      <a:ext cx="22901" cy="16358"/>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0" y="2"/>
                            <a:pt x="2" y="2"/>
                            <a:pt x="3" y="2"/>
                          </a:cubicBezTo>
                          <a:cubicBezTo>
                            <a:pt x="3" y="1"/>
                            <a:pt x="2" y="0"/>
                            <a:pt x="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4" name="îṡḻíḓe"/>
                    <p:cNvSpPr/>
                    <p:nvPr/>
                  </p:nvSpPr>
                  <p:spPr bwMode="auto">
                    <a:xfrm>
                      <a:off x="5317785" y="4075804"/>
                      <a:ext cx="31626" cy="23992"/>
                    </a:xfrm>
                    <a:custGeom>
                      <a:avLst/>
                      <a:gdLst>
                        <a:gd name="T0" fmla="*/ 2 w 4"/>
                        <a:gd name="T1" fmla="*/ 1 h 3"/>
                        <a:gd name="T2" fmla="*/ 3 w 4"/>
                        <a:gd name="T3" fmla="*/ 2 h 3"/>
                        <a:gd name="T4" fmla="*/ 2 w 4"/>
                        <a:gd name="T5" fmla="*/ 1 h 3"/>
                      </a:gdLst>
                      <a:ahLst/>
                      <a:cxnLst>
                        <a:cxn ang="0">
                          <a:pos x="T0" y="T1"/>
                        </a:cxn>
                        <a:cxn ang="0">
                          <a:pos x="T2" y="T3"/>
                        </a:cxn>
                        <a:cxn ang="0">
                          <a:pos x="T4" y="T5"/>
                        </a:cxn>
                      </a:cxnLst>
                      <a:rect l="0" t="0" r="r" b="b"/>
                      <a:pathLst>
                        <a:path w="4" h="3">
                          <a:moveTo>
                            <a:pt x="2" y="1"/>
                          </a:moveTo>
                          <a:cubicBezTo>
                            <a:pt x="0" y="1"/>
                            <a:pt x="2" y="3"/>
                            <a:pt x="3" y="2"/>
                          </a:cubicBezTo>
                          <a:cubicBezTo>
                            <a:pt x="4" y="1"/>
                            <a:pt x="4" y="0"/>
                            <a:pt x="2"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5" name="îś1íďe"/>
                    <p:cNvSpPr/>
                    <p:nvPr/>
                  </p:nvSpPr>
                  <p:spPr bwMode="auto">
                    <a:xfrm>
                      <a:off x="6147687" y="3990742"/>
                      <a:ext cx="147223" cy="54527"/>
                    </a:xfrm>
                    <a:custGeom>
                      <a:avLst/>
                      <a:gdLst>
                        <a:gd name="T0" fmla="*/ 7 w 19"/>
                        <a:gd name="T1" fmla="*/ 5 h 7"/>
                        <a:gd name="T2" fmla="*/ 10 w 19"/>
                        <a:gd name="T3" fmla="*/ 7 h 7"/>
                        <a:gd name="T4" fmla="*/ 14 w 19"/>
                        <a:gd name="T5" fmla="*/ 5 h 7"/>
                        <a:gd name="T6" fmla="*/ 17 w 19"/>
                        <a:gd name="T7" fmla="*/ 4 h 7"/>
                        <a:gd name="T8" fmla="*/ 18 w 19"/>
                        <a:gd name="T9" fmla="*/ 2 h 7"/>
                        <a:gd name="T10" fmla="*/ 14 w 19"/>
                        <a:gd name="T11" fmla="*/ 0 h 7"/>
                        <a:gd name="T12" fmla="*/ 10 w 19"/>
                        <a:gd name="T13" fmla="*/ 1 h 7"/>
                        <a:gd name="T14" fmla="*/ 6 w 19"/>
                        <a:gd name="T15" fmla="*/ 1 h 7"/>
                        <a:gd name="T16" fmla="*/ 1 w 19"/>
                        <a:gd name="T17" fmla="*/ 0 h 7"/>
                        <a:gd name="T18" fmla="*/ 1 w 19"/>
                        <a:gd name="T19" fmla="*/ 2 h 7"/>
                        <a:gd name="T20" fmla="*/ 3 w 19"/>
                        <a:gd name="T21" fmla="*/ 5 h 7"/>
                        <a:gd name="T22" fmla="*/ 7 w 19"/>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7">
                          <a:moveTo>
                            <a:pt x="7" y="5"/>
                          </a:moveTo>
                          <a:cubicBezTo>
                            <a:pt x="7" y="6"/>
                            <a:pt x="8" y="7"/>
                            <a:pt x="10" y="7"/>
                          </a:cubicBezTo>
                          <a:cubicBezTo>
                            <a:pt x="12" y="6"/>
                            <a:pt x="13" y="6"/>
                            <a:pt x="14" y="5"/>
                          </a:cubicBezTo>
                          <a:cubicBezTo>
                            <a:pt x="14" y="4"/>
                            <a:pt x="17" y="4"/>
                            <a:pt x="17" y="4"/>
                          </a:cubicBezTo>
                          <a:cubicBezTo>
                            <a:pt x="17" y="4"/>
                            <a:pt x="19" y="3"/>
                            <a:pt x="18" y="2"/>
                          </a:cubicBezTo>
                          <a:cubicBezTo>
                            <a:pt x="17" y="1"/>
                            <a:pt x="15" y="1"/>
                            <a:pt x="14" y="0"/>
                          </a:cubicBezTo>
                          <a:cubicBezTo>
                            <a:pt x="13" y="0"/>
                            <a:pt x="13" y="1"/>
                            <a:pt x="10" y="1"/>
                          </a:cubicBezTo>
                          <a:cubicBezTo>
                            <a:pt x="8" y="1"/>
                            <a:pt x="7" y="2"/>
                            <a:pt x="6" y="1"/>
                          </a:cubicBezTo>
                          <a:cubicBezTo>
                            <a:pt x="5" y="0"/>
                            <a:pt x="1" y="0"/>
                            <a:pt x="1" y="0"/>
                          </a:cubicBezTo>
                          <a:cubicBezTo>
                            <a:pt x="1" y="1"/>
                            <a:pt x="0" y="1"/>
                            <a:pt x="1" y="2"/>
                          </a:cubicBezTo>
                          <a:cubicBezTo>
                            <a:pt x="2" y="4"/>
                            <a:pt x="2" y="5"/>
                            <a:pt x="3" y="5"/>
                          </a:cubicBezTo>
                          <a:cubicBezTo>
                            <a:pt x="4" y="5"/>
                            <a:pt x="6" y="5"/>
                            <a:pt x="7"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6" name="ï$1íḋé"/>
                    <p:cNvSpPr/>
                    <p:nvPr/>
                  </p:nvSpPr>
                  <p:spPr bwMode="auto">
                    <a:xfrm>
                      <a:off x="5511901" y="3720288"/>
                      <a:ext cx="728482" cy="371875"/>
                    </a:xfrm>
                    <a:custGeom>
                      <a:avLst/>
                      <a:gdLst>
                        <a:gd name="T0" fmla="*/ 3 w 94"/>
                        <a:gd name="T1" fmla="*/ 20 h 48"/>
                        <a:gd name="T2" fmla="*/ 5 w 94"/>
                        <a:gd name="T3" fmla="*/ 20 h 48"/>
                        <a:gd name="T4" fmla="*/ 16 w 94"/>
                        <a:gd name="T5" fmla="*/ 20 h 48"/>
                        <a:gd name="T6" fmla="*/ 22 w 94"/>
                        <a:gd name="T7" fmla="*/ 28 h 48"/>
                        <a:gd name="T8" fmla="*/ 27 w 94"/>
                        <a:gd name="T9" fmla="*/ 27 h 48"/>
                        <a:gd name="T10" fmla="*/ 28 w 94"/>
                        <a:gd name="T11" fmla="*/ 31 h 48"/>
                        <a:gd name="T12" fmla="*/ 27 w 94"/>
                        <a:gd name="T13" fmla="*/ 34 h 48"/>
                        <a:gd name="T14" fmla="*/ 25 w 94"/>
                        <a:gd name="T15" fmla="*/ 34 h 48"/>
                        <a:gd name="T16" fmla="*/ 25 w 94"/>
                        <a:gd name="T17" fmla="*/ 38 h 48"/>
                        <a:gd name="T18" fmla="*/ 27 w 94"/>
                        <a:gd name="T19" fmla="*/ 40 h 48"/>
                        <a:gd name="T20" fmla="*/ 34 w 94"/>
                        <a:gd name="T21" fmla="*/ 46 h 48"/>
                        <a:gd name="T22" fmla="*/ 39 w 94"/>
                        <a:gd name="T23" fmla="*/ 48 h 48"/>
                        <a:gd name="T24" fmla="*/ 43 w 94"/>
                        <a:gd name="T25" fmla="*/ 43 h 48"/>
                        <a:gd name="T26" fmla="*/ 46 w 94"/>
                        <a:gd name="T27" fmla="*/ 40 h 48"/>
                        <a:gd name="T28" fmla="*/ 52 w 94"/>
                        <a:gd name="T29" fmla="*/ 36 h 48"/>
                        <a:gd name="T30" fmla="*/ 61 w 94"/>
                        <a:gd name="T31" fmla="*/ 32 h 48"/>
                        <a:gd name="T32" fmla="*/ 73 w 94"/>
                        <a:gd name="T33" fmla="*/ 30 h 48"/>
                        <a:gd name="T34" fmla="*/ 72 w 94"/>
                        <a:gd name="T35" fmla="*/ 28 h 48"/>
                        <a:gd name="T36" fmla="*/ 75 w 94"/>
                        <a:gd name="T37" fmla="*/ 27 h 48"/>
                        <a:gd name="T38" fmla="*/ 79 w 94"/>
                        <a:gd name="T39" fmla="*/ 27 h 48"/>
                        <a:gd name="T40" fmla="*/ 78 w 94"/>
                        <a:gd name="T41" fmla="*/ 22 h 48"/>
                        <a:gd name="T42" fmla="*/ 85 w 94"/>
                        <a:gd name="T43" fmla="*/ 18 h 48"/>
                        <a:gd name="T44" fmla="*/ 83 w 94"/>
                        <a:gd name="T45" fmla="*/ 16 h 48"/>
                        <a:gd name="T46" fmla="*/ 91 w 94"/>
                        <a:gd name="T47" fmla="*/ 9 h 48"/>
                        <a:gd name="T48" fmla="*/ 87 w 94"/>
                        <a:gd name="T49" fmla="*/ 7 h 48"/>
                        <a:gd name="T50" fmla="*/ 78 w 94"/>
                        <a:gd name="T51" fmla="*/ 5 h 48"/>
                        <a:gd name="T52" fmla="*/ 73 w 94"/>
                        <a:gd name="T53" fmla="*/ 2 h 48"/>
                        <a:gd name="T54" fmla="*/ 65 w 94"/>
                        <a:gd name="T55" fmla="*/ 3 h 48"/>
                        <a:gd name="T56" fmla="*/ 53 w 94"/>
                        <a:gd name="T57" fmla="*/ 3 h 48"/>
                        <a:gd name="T58" fmla="*/ 66 w 94"/>
                        <a:gd name="T59" fmla="*/ 2 h 48"/>
                        <a:gd name="T60" fmla="*/ 58 w 94"/>
                        <a:gd name="T61" fmla="*/ 0 h 48"/>
                        <a:gd name="T62" fmla="*/ 36 w 94"/>
                        <a:gd name="T63" fmla="*/ 5 h 48"/>
                        <a:gd name="T64" fmla="*/ 32 w 94"/>
                        <a:gd name="T65" fmla="*/ 6 h 48"/>
                        <a:gd name="T66" fmla="*/ 27 w 94"/>
                        <a:gd name="T67" fmla="*/ 7 h 48"/>
                        <a:gd name="T68" fmla="*/ 1 w 94"/>
                        <a:gd name="T6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48">
                          <a:moveTo>
                            <a:pt x="1" y="21"/>
                          </a:moveTo>
                          <a:cubicBezTo>
                            <a:pt x="1" y="21"/>
                            <a:pt x="3" y="21"/>
                            <a:pt x="3" y="20"/>
                          </a:cubicBezTo>
                          <a:cubicBezTo>
                            <a:pt x="4" y="20"/>
                            <a:pt x="5" y="18"/>
                            <a:pt x="5" y="18"/>
                          </a:cubicBezTo>
                          <a:cubicBezTo>
                            <a:pt x="5" y="18"/>
                            <a:pt x="4" y="19"/>
                            <a:pt x="5" y="20"/>
                          </a:cubicBezTo>
                          <a:cubicBezTo>
                            <a:pt x="6" y="20"/>
                            <a:pt x="9" y="19"/>
                            <a:pt x="10" y="19"/>
                          </a:cubicBezTo>
                          <a:cubicBezTo>
                            <a:pt x="11" y="19"/>
                            <a:pt x="15" y="20"/>
                            <a:pt x="16" y="20"/>
                          </a:cubicBezTo>
                          <a:cubicBezTo>
                            <a:pt x="17" y="21"/>
                            <a:pt x="20" y="21"/>
                            <a:pt x="21" y="22"/>
                          </a:cubicBezTo>
                          <a:cubicBezTo>
                            <a:pt x="22" y="23"/>
                            <a:pt x="21" y="28"/>
                            <a:pt x="22" y="28"/>
                          </a:cubicBezTo>
                          <a:cubicBezTo>
                            <a:pt x="22" y="29"/>
                            <a:pt x="24" y="27"/>
                            <a:pt x="24" y="26"/>
                          </a:cubicBezTo>
                          <a:cubicBezTo>
                            <a:pt x="25" y="26"/>
                            <a:pt x="27" y="26"/>
                            <a:pt x="27" y="27"/>
                          </a:cubicBezTo>
                          <a:cubicBezTo>
                            <a:pt x="28" y="27"/>
                            <a:pt x="29" y="29"/>
                            <a:pt x="29" y="30"/>
                          </a:cubicBezTo>
                          <a:cubicBezTo>
                            <a:pt x="29" y="30"/>
                            <a:pt x="29" y="31"/>
                            <a:pt x="28" y="31"/>
                          </a:cubicBezTo>
                          <a:cubicBezTo>
                            <a:pt x="28" y="31"/>
                            <a:pt x="26" y="34"/>
                            <a:pt x="27" y="33"/>
                          </a:cubicBezTo>
                          <a:cubicBezTo>
                            <a:pt x="27" y="33"/>
                            <a:pt x="27" y="34"/>
                            <a:pt x="27" y="34"/>
                          </a:cubicBezTo>
                          <a:cubicBezTo>
                            <a:pt x="26" y="35"/>
                            <a:pt x="25" y="35"/>
                            <a:pt x="25" y="35"/>
                          </a:cubicBezTo>
                          <a:cubicBezTo>
                            <a:pt x="25" y="35"/>
                            <a:pt x="25" y="34"/>
                            <a:pt x="25" y="34"/>
                          </a:cubicBezTo>
                          <a:cubicBezTo>
                            <a:pt x="24" y="34"/>
                            <a:pt x="24" y="34"/>
                            <a:pt x="24" y="35"/>
                          </a:cubicBezTo>
                          <a:cubicBezTo>
                            <a:pt x="24" y="36"/>
                            <a:pt x="25" y="38"/>
                            <a:pt x="25" y="38"/>
                          </a:cubicBezTo>
                          <a:cubicBezTo>
                            <a:pt x="26" y="39"/>
                            <a:pt x="28" y="39"/>
                            <a:pt x="28" y="39"/>
                          </a:cubicBezTo>
                          <a:cubicBezTo>
                            <a:pt x="29" y="39"/>
                            <a:pt x="27" y="40"/>
                            <a:pt x="27" y="40"/>
                          </a:cubicBezTo>
                          <a:cubicBezTo>
                            <a:pt x="28" y="41"/>
                            <a:pt x="28" y="43"/>
                            <a:pt x="29" y="43"/>
                          </a:cubicBezTo>
                          <a:cubicBezTo>
                            <a:pt x="30" y="44"/>
                            <a:pt x="33" y="46"/>
                            <a:pt x="34" y="46"/>
                          </a:cubicBezTo>
                          <a:cubicBezTo>
                            <a:pt x="34" y="47"/>
                            <a:pt x="37" y="46"/>
                            <a:pt x="37" y="46"/>
                          </a:cubicBezTo>
                          <a:cubicBezTo>
                            <a:pt x="38" y="45"/>
                            <a:pt x="37" y="48"/>
                            <a:pt x="39" y="48"/>
                          </a:cubicBezTo>
                          <a:cubicBezTo>
                            <a:pt x="40" y="48"/>
                            <a:pt x="41" y="48"/>
                            <a:pt x="42" y="47"/>
                          </a:cubicBezTo>
                          <a:cubicBezTo>
                            <a:pt x="43" y="46"/>
                            <a:pt x="43" y="44"/>
                            <a:pt x="43" y="43"/>
                          </a:cubicBezTo>
                          <a:cubicBezTo>
                            <a:pt x="43" y="42"/>
                            <a:pt x="43" y="42"/>
                            <a:pt x="44" y="42"/>
                          </a:cubicBezTo>
                          <a:cubicBezTo>
                            <a:pt x="46" y="42"/>
                            <a:pt x="47" y="42"/>
                            <a:pt x="46" y="40"/>
                          </a:cubicBezTo>
                          <a:cubicBezTo>
                            <a:pt x="46" y="39"/>
                            <a:pt x="45" y="38"/>
                            <a:pt x="47" y="38"/>
                          </a:cubicBezTo>
                          <a:cubicBezTo>
                            <a:pt x="50" y="37"/>
                            <a:pt x="51" y="36"/>
                            <a:pt x="52" y="36"/>
                          </a:cubicBezTo>
                          <a:cubicBezTo>
                            <a:pt x="53" y="36"/>
                            <a:pt x="57" y="36"/>
                            <a:pt x="57" y="36"/>
                          </a:cubicBezTo>
                          <a:cubicBezTo>
                            <a:pt x="58" y="35"/>
                            <a:pt x="59" y="32"/>
                            <a:pt x="61" y="32"/>
                          </a:cubicBezTo>
                          <a:cubicBezTo>
                            <a:pt x="62" y="32"/>
                            <a:pt x="65" y="33"/>
                            <a:pt x="67" y="32"/>
                          </a:cubicBezTo>
                          <a:cubicBezTo>
                            <a:pt x="70" y="32"/>
                            <a:pt x="72" y="30"/>
                            <a:pt x="73" y="30"/>
                          </a:cubicBezTo>
                          <a:cubicBezTo>
                            <a:pt x="74" y="30"/>
                            <a:pt x="76" y="30"/>
                            <a:pt x="76" y="30"/>
                          </a:cubicBezTo>
                          <a:cubicBezTo>
                            <a:pt x="75" y="29"/>
                            <a:pt x="74" y="28"/>
                            <a:pt x="72" y="28"/>
                          </a:cubicBezTo>
                          <a:cubicBezTo>
                            <a:pt x="71" y="28"/>
                            <a:pt x="71" y="25"/>
                            <a:pt x="71" y="25"/>
                          </a:cubicBezTo>
                          <a:cubicBezTo>
                            <a:pt x="72" y="25"/>
                            <a:pt x="75" y="26"/>
                            <a:pt x="75" y="27"/>
                          </a:cubicBezTo>
                          <a:cubicBezTo>
                            <a:pt x="75" y="28"/>
                            <a:pt x="76" y="29"/>
                            <a:pt x="78" y="29"/>
                          </a:cubicBezTo>
                          <a:cubicBezTo>
                            <a:pt x="80" y="29"/>
                            <a:pt x="79" y="27"/>
                            <a:pt x="79" y="27"/>
                          </a:cubicBezTo>
                          <a:cubicBezTo>
                            <a:pt x="78" y="26"/>
                            <a:pt x="78" y="25"/>
                            <a:pt x="78" y="25"/>
                          </a:cubicBezTo>
                          <a:cubicBezTo>
                            <a:pt x="77" y="24"/>
                            <a:pt x="76" y="22"/>
                            <a:pt x="78" y="22"/>
                          </a:cubicBezTo>
                          <a:cubicBezTo>
                            <a:pt x="80" y="22"/>
                            <a:pt x="84" y="24"/>
                            <a:pt x="84" y="22"/>
                          </a:cubicBezTo>
                          <a:cubicBezTo>
                            <a:pt x="84" y="21"/>
                            <a:pt x="84" y="19"/>
                            <a:pt x="85" y="18"/>
                          </a:cubicBezTo>
                          <a:cubicBezTo>
                            <a:pt x="85" y="18"/>
                            <a:pt x="86" y="17"/>
                            <a:pt x="86" y="17"/>
                          </a:cubicBezTo>
                          <a:cubicBezTo>
                            <a:pt x="85" y="17"/>
                            <a:pt x="84" y="17"/>
                            <a:pt x="83" y="16"/>
                          </a:cubicBezTo>
                          <a:cubicBezTo>
                            <a:pt x="83" y="15"/>
                            <a:pt x="84" y="14"/>
                            <a:pt x="85" y="13"/>
                          </a:cubicBezTo>
                          <a:cubicBezTo>
                            <a:pt x="85" y="13"/>
                            <a:pt x="89" y="10"/>
                            <a:pt x="91" y="9"/>
                          </a:cubicBezTo>
                          <a:cubicBezTo>
                            <a:pt x="93" y="9"/>
                            <a:pt x="94" y="7"/>
                            <a:pt x="93" y="7"/>
                          </a:cubicBezTo>
                          <a:cubicBezTo>
                            <a:pt x="91" y="6"/>
                            <a:pt x="88" y="6"/>
                            <a:pt x="87" y="7"/>
                          </a:cubicBezTo>
                          <a:cubicBezTo>
                            <a:pt x="85" y="8"/>
                            <a:pt x="84" y="9"/>
                            <a:pt x="82" y="9"/>
                          </a:cubicBezTo>
                          <a:cubicBezTo>
                            <a:pt x="79" y="8"/>
                            <a:pt x="79" y="6"/>
                            <a:pt x="78" y="5"/>
                          </a:cubicBezTo>
                          <a:cubicBezTo>
                            <a:pt x="76" y="4"/>
                            <a:pt x="77" y="1"/>
                            <a:pt x="75" y="2"/>
                          </a:cubicBezTo>
                          <a:cubicBezTo>
                            <a:pt x="73" y="2"/>
                            <a:pt x="73" y="2"/>
                            <a:pt x="73" y="2"/>
                          </a:cubicBezTo>
                          <a:cubicBezTo>
                            <a:pt x="73" y="2"/>
                            <a:pt x="71" y="2"/>
                            <a:pt x="69" y="2"/>
                          </a:cubicBezTo>
                          <a:cubicBezTo>
                            <a:pt x="68" y="2"/>
                            <a:pt x="66" y="3"/>
                            <a:pt x="65" y="3"/>
                          </a:cubicBezTo>
                          <a:cubicBezTo>
                            <a:pt x="63" y="2"/>
                            <a:pt x="62" y="3"/>
                            <a:pt x="61" y="3"/>
                          </a:cubicBezTo>
                          <a:cubicBezTo>
                            <a:pt x="57" y="4"/>
                            <a:pt x="53" y="3"/>
                            <a:pt x="53" y="3"/>
                          </a:cubicBezTo>
                          <a:cubicBezTo>
                            <a:pt x="52" y="3"/>
                            <a:pt x="56" y="3"/>
                            <a:pt x="58" y="3"/>
                          </a:cubicBezTo>
                          <a:cubicBezTo>
                            <a:pt x="61" y="3"/>
                            <a:pt x="64" y="2"/>
                            <a:pt x="66" y="2"/>
                          </a:cubicBezTo>
                          <a:cubicBezTo>
                            <a:pt x="68" y="2"/>
                            <a:pt x="66" y="1"/>
                            <a:pt x="66" y="1"/>
                          </a:cubicBezTo>
                          <a:cubicBezTo>
                            <a:pt x="64" y="1"/>
                            <a:pt x="61" y="1"/>
                            <a:pt x="58" y="0"/>
                          </a:cubicBezTo>
                          <a:cubicBezTo>
                            <a:pt x="51" y="1"/>
                            <a:pt x="44" y="3"/>
                            <a:pt x="37" y="4"/>
                          </a:cubicBezTo>
                          <a:cubicBezTo>
                            <a:pt x="37" y="5"/>
                            <a:pt x="36" y="5"/>
                            <a:pt x="36" y="5"/>
                          </a:cubicBezTo>
                          <a:cubicBezTo>
                            <a:pt x="35" y="5"/>
                            <a:pt x="35" y="5"/>
                            <a:pt x="35" y="5"/>
                          </a:cubicBezTo>
                          <a:cubicBezTo>
                            <a:pt x="34" y="5"/>
                            <a:pt x="33" y="5"/>
                            <a:pt x="32" y="6"/>
                          </a:cubicBezTo>
                          <a:cubicBezTo>
                            <a:pt x="32" y="6"/>
                            <a:pt x="32" y="6"/>
                            <a:pt x="32" y="7"/>
                          </a:cubicBezTo>
                          <a:cubicBezTo>
                            <a:pt x="31" y="7"/>
                            <a:pt x="28" y="8"/>
                            <a:pt x="27" y="7"/>
                          </a:cubicBezTo>
                          <a:cubicBezTo>
                            <a:pt x="17" y="10"/>
                            <a:pt x="8" y="15"/>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7" name="ïṧḷiḑê"/>
                    <p:cNvSpPr/>
                    <p:nvPr/>
                  </p:nvSpPr>
                  <p:spPr bwMode="auto">
                    <a:xfrm>
                      <a:off x="5682026" y="3960207"/>
                      <a:ext cx="16358" cy="22901"/>
                    </a:xfrm>
                    <a:custGeom>
                      <a:avLst/>
                      <a:gdLst>
                        <a:gd name="T0" fmla="*/ 1 w 2"/>
                        <a:gd name="T1" fmla="*/ 1 h 3"/>
                        <a:gd name="T2" fmla="*/ 1 w 2"/>
                        <a:gd name="T3" fmla="*/ 2 h 3"/>
                        <a:gd name="T4" fmla="*/ 2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3"/>
                            <a:pt x="1" y="2"/>
                            <a:pt x="1" y="2"/>
                          </a:cubicBezTo>
                          <a:cubicBezTo>
                            <a:pt x="2" y="2"/>
                            <a:pt x="2" y="2"/>
                            <a:pt x="2" y="2"/>
                          </a:cubicBezTo>
                          <a:cubicBezTo>
                            <a:pt x="2" y="1"/>
                            <a:pt x="1" y="0"/>
                            <a:pt x="1"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8" name="îṣļiḓé"/>
                    <p:cNvSpPr/>
                    <p:nvPr/>
                  </p:nvSpPr>
                  <p:spPr bwMode="auto">
                    <a:xfrm>
                      <a:off x="5240356" y="4750850"/>
                      <a:ext cx="124322" cy="61070"/>
                    </a:xfrm>
                    <a:custGeom>
                      <a:avLst/>
                      <a:gdLst>
                        <a:gd name="T0" fmla="*/ 13 w 16"/>
                        <a:gd name="T1" fmla="*/ 4 h 8"/>
                        <a:gd name="T2" fmla="*/ 9 w 16"/>
                        <a:gd name="T3" fmla="*/ 1 h 8"/>
                        <a:gd name="T4" fmla="*/ 4 w 16"/>
                        <a:gd name="T5" fmla="*/ 0 h 8"/>
                        <a:gd name="T6" fmla="*/ 0 w 16"/>
                        <a:gd name="T7" fmla="*/ 1 h 8"/>
                        <a:gd name="T8" fmla="*/ 3 w 16"/>
                        <a:gd name="T9" fmla="*/ 3 h 8"/>
                        <a:gd name="T10" fmla="*/ 9 w 16"/>
                        <a:gd name="T11" fmla="*/ 3 h 8"/>
                        <a:gd name="T12" fmla="*/ 13 w 16"/>
                        <a:gd name="T13" fmla="*/ 7 h 8"/>
                        <a:gd name="T14" fmla="*/ 16 w 16"/>
                        <a:gd name="T15" fmla="*/ 7 h 8"/>
                        <a:gd name="T16" fmla="*/ 13 w 16"/>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8">
                          <a:moveTo>
                            <a:pt x="13" y="4"/>
                          </a:moveTo>
                          <a:cubicBezTo>
                            <a:pt x="12" y="4"/>
                            <a:pt x="10" y="3"/>
                            <a:pt x="9" y="1"/>
                          </a:cubicBezTo>
                          <a:cubicBezTo>
                            <a:pt x="8" y="0"/>
                            <a:pt x="5" y="0"/>
                            <a:pt x="4" y="0"/>
                          </a:cubicBezTo>
                          <a:cubicBezTo>
                            <a:pt x="3" y="0"/>
                            <a:pt x="0" y="1"/>
                            <a:pt x="0" y="1"/>
                          </a:cubicBezTo>
                          <a:cubicBezTo>
                            <a:pt x="0" y="3"/>
                            <a:pt x="1" y="3"/>
                            <a:pt x="3" y="3"/>
                          </a:cubicBezTo>
                          <a:cubicBezTo>
                            <a:pt x="5" y="3"/>
                            <a:pt x="8" y="2"/>
                            <a:pt x="9" y="3"/>
                          </a:cubicBezTo>
                          <a:cubicBezTo>
                            <a:pt x="9" y="4"/>
                            <a:pt x="12" y="6"/>
                            <a:pt x="13" y="7"/>
                          </a:cubicBezTo>
                          <a:cubicBezTo>
                            <a:pt x="13" y="7"/>
                            <a:pt x="16" y="8"/>
                            <a:pt x="16" y="7"/>
                          </a:cubicBezTo>
                          <a:cubicBezTo>
                            <a:pt x="16" y="6"/>
                            <a:pt x="14" y="4"/>
                            <a:pt x="13"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19" name="ïšļiḓê"/>
                    <p:cNvSpPr/>
                    <p:nvPr/>
                  </p:nvSpPr>
                  <p:spPr bwMode="auto">
                    <a:xfrm>
                      <a:off x="5317785" y="4711590"/>
                      <a:ext cx="23992" cy="22901"/>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2"/>
                            <a:pt x="2" y="0"/>
                            <a:pt x="1" y="1"/>
                          </a:cubicBezTo>
                          <a:cubicBezTo>
                            <a:pt x="0" y="1"/>
                            <a:pt x="0" y="3"/>
                            <a:pt x="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0" name="íṩľïḓe"/>
                    <p:cNvSpPr/>
                    <p:nvPr/>
                  </p:nvSpPr>
                  <p:spPr bwMode="auto">
                    <a:xfrm>
                      <a:off x="5317785" y="4843546"/>
                      <a:ext cx="31626" cy="30535"/>
                    </a:xfrm>
                    <a:custGeom>
                      <a:avLst/>
                      <a:gdLst>
                        <a:gd name="T0" fmla="*/ 2 w 4"/>
                        <a:gd name="T1" fmla="*/ 0 h 4"/>
                        <a:gd name="T2" fmla="*/ 2 w 4"/>
                        <a:gd name="T3" fmla="*/ 3 h 4"/>
                        <a:gd name="T4" fmla="*/ 2 w 4"/>
                        <a:gd name="T5" fmla="*/ 0 h 4"/>
                      </a:gdLst>
                      <a:ahLst/>
                      <a:cxnLst>
                        <a:cxn ang="0">
                          <a:pos x="T0" y="T1"/>
                        </a:cxn>
                        <a:cxn ang="0">
                          <a:pos x="T2" y="T3"/>
                        </a:cxn>
                        <a:cxn ang="0">
                          <a:pos x="T4" y="T5"/>
                        </a:cxn>
                      </a:cxnLst>
                      <a:rect l="0" t="0" r="r" b="b"/>
                      <a:pathLst>
                        <a:path w="4" h="4">
                          <a:moveTo>
                            <a:pt x="2" y="0"/>
                          </a:moveTo>
                          <a:cubicBezTo>
                            <a:pt x="0" y="1"/>
                            <a:pt x="1" y="4"/>
                            <a:pt x="2" y="3"/>
                          </a:cubicBezTo>
                          <a:cubicBezTo>
                            <a:pt x="4" y="3"/>
                            <a:pt x="3" y="0"/>
                            <a:pt x="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1" name="ïṩ1íḓè"/>
                    <p:cNvSpPr/>
                    <p:nvPr/>
                  </p:nvSpPr>
                  <p:spPr bwMode="auto">
                    <a:xfrm>
                      <a:off x="5481366" y="4828278"/>
                      <a:ext cx="30535" cy="30535"/>
                    </a:xfrm>
                    <a:custGeom>
                      <a:avLst/>
                      <a:gdLst>
                        <a:gd name="T0" fmla="*/ 2 w 4"/>
                        <a:gd name="T1" fmla="*/ 0 h 4"/>
                        <a:gd name="T2" fmla="*/ 2 w 4"/>
                        <a:gd name="T3" fmla="*/ 3 h 4"/>
                        <a:gd name="T4" fmla="*/ 2 w 4"/>
                        <a:gd name="T5" fmla="*/ 0 h 4"/>
                      </a:gdLst>
                      <a:ahLst/>
                      <a:cxnLst>
                        <a:cxn ang="0">
                          <a:pos x="T0" y="T1"/>
                        </a:cxn>
                        <a:cxn ang="0">
                          <a:pos x="T2" y="T3"/>
                        </a:cxn>
                        <a:cxn ang="0">
                          <a:pos x="T4" y="T5"/>
                        </a:cxn>
                      </a:cxnLst>
                      <a:rect l="0" t="0" r="r" b="b"/>
                      <a:pathLst>
                        <a:path w="4" h="4">
                          <a:moveTo>
                            <a:pt x="2" y="0"/>
                          </a:moveTo>
                          <a:cubicBezTo>
                            <a:pt x="0" y="0"/>
                            <a:pt x="1" y="4"/>
                            <a:pt x="2" y="3"/>
                          </a:cubicBezTo>
                          <a:cubicBezTo>
                            <a:pt x="4" y="3"/>
                            <a:pt x="3" y="0"/>
                            <a:pt x="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2" name="îŝľíḑè"/>
                    <p:cNvSpPr/>
                    <p:nvPr/>
                  </p:nvSpPr>
                  <p:spPr bwMode="auto">
                    <a:xfrm>
                      <a:off x="5379946" y="4804286"/>
                      <a:ext cx="85062" cy="54527"/>
                    </a:xfrm>
                    <a:custGeom>
                      <a:avLst/>
                      <a:gdLst>
                        <a:gd name="T0" fmla="*/ 7 w 11"/>
                        <a:gd name="T1" fmla="*/ 0 h 7"/>
                        <a:gd name="T2" fmla="*/ 4 w 11"/>
                        <a:gd name="T3" fmla="*/ 1 h 7"/>
                        <a:gd name="T4" fmla="*/ 0 w 11"/>
                        <a:gd name="T5" fmla="*/ 4 h 7"/>
                        <a:gd name="T6" fmla="*/ 3 w 11"/>
                        <a:gd name="T7" fmla="*/ 4 h 7"/>
                        <a:gd name="T8" fmla="*/ 6 w 11"/>
                        <a:gd name="T9" fmla="*/ 6 h 7"/>
                        <a:gd name="T10" fmla="*/ 9 w 11"/>
                        <a:gd name="T11" fmla="*/ 5 h 7"/>
                        <a:gd name="T12" fmla="*/ 11 w 11"/>
                        <a:gd name="T13" fmla="*/ 5 h 7"/>
                        <a:gd name="T14" fmla="*/ 7 w 1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7" y="0"/>
                          </a:moveTo>
                          <a:cubicBezTo>
                            <a:pt x="6" y="0"/>
                            <a:pt x="5" y="0"/>
                            <a:pt x="4" y="1"/>
                          </a:cubicBezTo>
                          <a:cubicBezTo>
                            <a:pt x="3" y="1"/>
                            <a:pt x="0" y="4"/>
                            <a:pt x="0" y="4"/>
                          </a:cubicBezTo>
                          <a:cubicBezTo>
                            <a:pt x="0" y="4"/>
                            <a:pt x="2" y="4"/>
                            <a:pt x="3" y="4"/>
                          </a:cubicBezTo>
                          <a:cubicBezTo>
                            <a:pt x="4" y="4"/>
                            <a:pt x="5" y="5"/>
                            <a:pt x="6" y="6"/>
                          </a:cubicBezTo>
                          <a:cubicBezTo>
                            <a:pt x="7" y="6"/>
                            <a:pt x="8" y="5"/>
                            <a:pt x="9" y="5"/>
                          </a:cubicBezTo>
                          <a:cubicBezTo>
                            <a:pt x="10" y="5"/>
                            <a:pt x="10" y="7"/>
                            <a:pt x="11" y="5"/>
                          </a:cubicBezTo>
                          <a:cubicBezTo>
                            <a:pt x="11" y="2"/>
                            <a:pt x="9" y="1"/>
                            <a:pt x="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3" name="íṡḻïḑe"/>
                    <p:cNvSpPr/>
                    <p:nvPr/>
                  </p:nvSpPr>
                  <p:spPr bwMode="auto">
                    <a:xfrm>
                      <a:off x="7023392" y="5355010"/>
                      <a:ext cx="92696" cy="224652"/>
                    </a:xfrm>
                    <a:custGeom>
                      <a:avLst/>
                      <a:gdLst>
                        <a:gd name="T0" fmla="*/ 7 w 12"/>
                        <a:gd name="T1" fmla="*/ 5 h 29"/>
                        <a:gd name="T2" fmla="*/ 4 w 12"/>
                        <a:gd name="T3" fmla="*/ 8 h 29"/>
                        <a:gd name="T4" fmla="*/ 1 w 12"/>
                        <a:gd name="T5" fmla="*/ 13 h 29"/>
                        <a:gd name="T6" fmla="*/ 1 w 12"/>
                        <a:gd name="T7" fmla="*/ 19 h 29"/>
                        <a:gd name="T8" fmla="*/ 1 w 12"/>
                        <a:gd name="T9" fmla="*/ 26 h 29"/>
                        <a:gd name="T10" fmla="*/ 2 w 12"/>
                        <a:gd name="T11" fmla="*/ 29 h 29"/>
                        <a:gd name="T12" fmla="*/ 6 w 12"/>
                        <a:gd name="T13" fmla="*/ 25 h 29"/>
                        <a:gd name="T14" fmla="*/ 8 w 12"/>
                        <a:gd name="T15" fmla="*/ 18 h 29"/>
                        <a:gd name="T16" fmla="*/ 10 w 12"/>
                        <a:gd name="T17" fmla="*/ 11 h 29"/>
                        <a:gd name="T18" fmla="*/ 12 w 12"/>
                        <a:gd name="T19" fmla="*/ 5 h 29"/>
                        <a:gd name="T20" fmla="*/ 11 w 12"/>
                        <a:gd name="T21" fmla="*/ 0 h 29"/>
                        <a:gd name="T22" fmla="*/ 7 w 12"/>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7" y="5"/>
                          </a:moveTo>
                          <a:cubicBezTo>
                            <a:pt x="6" y="7"/>
                            <a:pt x="5" y="9"/>
                            <a:pt x="4" y="8"/>
                          </a:cubicBezTo>
                          <a:cubicBezTo>
                            <a:pt x="4" y="8"/>
                            <a:pt x="1" y="10"/>
                            <a:pt x="1" y="13"/>
                          </a:cubicBezTo>
                          <a:cubicBezTo>
                            <a:pt x="2" y="15"/>
                            <a:pt x="2" y="18"/>
                            <a:pt x="1" y="19"/>
                          </a:cubicBezTo>
                          <a:cubicBezTo>
                            <a:pt x="0" y="21"/>
                            <a:pt x="1" y="24"/>
                            <a:pt x="1" y="26"/>
                          </a:cubicBezTo>
                          <a:cubicBezTo>
                            <a:pt x="0" y="28"/>
                            <a:pt x="1" y="29"/>
                            <a:pt x="2" y="29"/>
                          </a:cubicBezTo>
                          <a:cubicBezTo>
                            <a:pt x="4" y="28"/>
                            <a:pt x="5" y="27"/>
                            <a:pt x="6" y="25"/>
                          </a:cubicBezTo>
                          <a:cubicBezTo>
                            <a:pt x="7" y="23"/>
                            <a:pt x="7" y="20"/>
                            <a:pt x="8" y="18"/>
                          </a:cubicBezTo>
                          <a:cubicBezTo>
                            <a:pt x="9" y="16"/>
                            <a:pt x="10" y="12"/>
                            <a:pt x="10" y="11"/>
                          </a:cubicBezTo>
                          <a:cubicBezTo>
                            <a:pt x="11" y="10"/>
                            <a:pt x="12" y="6"/>
                            <a:pt x="12" y="5"/>
                          </a:cubicBezTo>
                          <a:cubicBezTo>
                            <a:pt x="12" y="3"/>
                            <a:pt x="11" y="0"/>
                            <a:pt x="11" y="0"/>
                          </a:cubicBezTo>
                          <a:cubicBezTo>
                            <a:pt x="9" y="0"/>
                            <a:pt x="9" y="3"/>
                            <a:pt x="7"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4" name="îṩļîḍê"/>
                    <p:cNvSpPr/>
                    <p:nvPr/>
                  </p:nvSpPr>
                  <p:spPr bwMode="auto">
                    <a:xfrm>
                      <a:off x="6557731" y="4417144"/>
                      <a:ext cx="39260" cy="39260"/>
                    </a:xfrm>
                    <a:custGeom>
                      <a:avLst/>
                      <a:gdLst>
                        <a:gd name="T0" fmla="*/ 4 w 5"/>
                        <a:gd name="T1" fmla="*/ 3 h 5"/>
                        <a:gd name="T2" fmla="*/ 2 w 5"/>
                        <a:gd name="T3" fmla="*/ 0 h 5"/>
                        <a:gd name="T4" fmla="*/ 1 w 5"/>
                        <a:gd name="T5" fmla="*/ 4 h 5"/>
                        <a:gd name="T6" fmla="*/ 4 w 5"/>
                        <a:gd name="T7" fmla="*/ 3 h 5"/>
                      </a:gdLst>
                      <a:ahLst/>
                      <a:cxnLst>
                        <a:cxn ang="0">
                          <a:pos x="T0" y="T1"/>
                        </a:cxn>
                        <a:cxn ang="0">
                          <a:pos x="T2" y="T3"/>
                        </a:cxn>
                        <a:cxn ang="0">
                          <a:pos x="T4" y="T5"/>
                        </a:cxn>
                        <a:cxn ang="0">
                          <a:pos x="T6" y="T7"/>
                        </a:cxn>
                      </a:cxnLst>
                      <a:rect l="0" t="0" r="r" b="b"/>
                      <a:pathLst>
                        <a:path w="5" h="5">
                          <a:moveTo>
                            <a:pt x="4" y="3"/>
                          </a:moveTo>
                          <a:cubicBezTo>
                            <a:pt x="5" y="2"/>
                            <a:pt x="3" y="0"/>
                            <a:pt x="2" y="0"/>
                          </a:cubicBezTo>
                          <a:cubicBezTo>
                            <a:pt x="1" y="0"/>
                            <a:pt x="0" y="3"/>
                            <a:pt x="1" y="4"/>
                          </a:cubicBezTo>
                          <a:cubicBezTo>
                            <a:pt x="2" y="5"/>
                            <a:pt x="3" y="4"/>
                            <a:pt x="4"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5" name="íṧļíďê"/>
                    <p:cNvSpPr/>
                    <p:nvPr/>
                  </p:nvSpPr>
                  <p:spPr bwMode="auto">
                    <a:xfrm>
                      <a:off x="6472669" y="4417144"/>
                      <a:ext cx="22901" cy="22901"/>
                    </a:xfrm>
                    <a:custGeom>
                      <a:avLst/>
                      <a:gdLst>
                        <a:gd name="T0" fmla="*/ 2 w 3"/>
                        <a:gd name="T1" fmla="*/ 3 h 3"/>
                        <a:gd name="T2" fmla="*/ 1 w 3"/>
                        <a:gd name="T3" fmla="*/ 2 h 3"/>
                        <a:gd name="T4" fmla="*/ 2 w 3"/>
                        <a:gd name="T5" fmla="*/ 3 h 3"/>
                      </a:gdLst>
                      <a:ahLst/>
                      <a:cxnLst>
                        <a:cxn ang="0">
                          <a:pos x="T0" y="T1"/>
                        </a:cxn>
                        <a:cxn ang="0">
                          <a:pos x="T2" y="T3"/>
                        </a:cxn>
                        <a:cxn ang="0">
                          <a:pos x="T4" y="T5"/>
                        </a:cxn>
                      </a:cxnLst>
                      <a:rect l="0" t="0" r="r" b="b"/>
                      <a:pathLst>
                        <a:path w="3" h="3">
                          <a:moveTo>
                            <a:pt x="2" y="3"/>
                          </a:moveTo>
                          <a:cubicBezTo>
                            <a:pt x="3" y="2"/>
                            <a:pt x="2" y="0"/>
                            <a:pt x="1" y="2"/>
                          </a:cubicBezTo>
                          <a:cubicBezTo>
                            <a:pt x="0" y="3"/>
                            <a:pt x="2" y="3"/>
                            <a:pt x="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6" name="iSḻîde"/>
                    <p:cNvSpPr/>
                    <p:nvPr/>
                  </p:nvSpPr>
                  <p:spPr bwMode="auto">
                    <a:xfrm>
                      <a:off x="6627526" y="4464037"/>
                      <a:ext cx="54527" cy="38169"/>
                    </a:xfrm>
                    <a:custGeom>
                      <a:avLst/>
                      <a:gdLst>
                        <a:gd name="T0" fmla="*/ 2 w 7"/>
                        <a:gd name="T1" fmla="*/ 3 h 5"/>
                        <a:gd name="T2" fmla="*/ 5 w 7"/>
                        <a:gd name="T3" fmla="*/ 5 h 5"/>
                        <a:gd name="T4" fmla="*/ 7 w 7"/>
                        <a:gd name="T5" fmla="*/ 3 h 5"/>
                        <a:gd name="T6" fmla="*/ 4 w 7"/>
                        <a:gd name="T7" fmla="*/ 1 h 5"/>
                        <a:gd name="T8" fmla="*/ 1 w 7"/>
                        <a:gd name="T9" fmla="*/ 1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3" y="3"/>
                            <a:pt x="4" y="4"/>
                            <a:pt x="5" y="5"/>
                          </a:cubicBezTo>
                          <a:cubicBezTo>
                            <a:pt x="5" y="5"/>
                            <a:pt x="7" y="5"/>
                            <a:pt x="7" y="3"/>
                          </a:cubicBezTo>
                          <a:cubicBezTo>
                            <a:pt x="6" y="1"/>
                            <a:pt x="4" y="1"/>
                            <a:pt x="4" y="1"/>
                          </a:cubicBezTo>
                          <a:cubicBezTo>
                            <a:pt x="3" y="1"/>
                            <a:pt x="1" y="0"/>
                            <a:pt x="1" y="1"/>
                          </a:cubicBezTo>
                          <a:cubicBezTo>
                            <a:pt x="0" y="1"/>
                            <a:pt x="2" y="2"/>
                            <a:pt x="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7" name="ï$ḷíḑe"/>
                    <p:cNvSpPr/>
                    <p:nvPr/>
                  </p:nvSpPr>
                  <p:spPr bwMode="auto">
                    <a:xfrm>
                      <a:off x="6270919" y="4161957"/>
                      <a:ext cx="69795" cy="69795"/>
                    </a:xfrm>
                    <a:custGeom>
                      <a:avLst/>
                      <a:gdLst>
                        <a:gd name="T0" fmla="*/ 1 w 9"/>
                        <a:gd name="T1" fmla="*/ 3 h 9"/>
                        <a:gd name="T2" fmla="*/ 1 w 9"/>
                        <a:gd name="T3" fmla="*/ 6 h 9"/>
                        <a:gd name="T4" fmla="*/ 2 w 9"/>
                        <a:gd name="T5" fmla="*/ 9 h 9"/>
                        <a:gd name="T6" fmla="*/ 6 w 9"/>
                        <a:gd name="T7" fmla="*/ 8 h 9"/>
                        <a:gd name="T8" fmla="*/ 9 w 9"/>
                        <a:gd name="T9" fmla="*/ 5 h 9"/>
                        <a:gd name="T10" fmla="*/ 8 w 9"/>
                        <a:gd name="T11" fmla="*/ 1 h 9"/>
                        <a:gd name="T12" fmla="*/ 5 w 9"/>
                        <a:gd name="T13" fmla="*/ 0 h 9"/>
                        <a:gd name="T14" fmla="*/ 3 w 9"/>
                        <a:gd name="T15" fmla="*/ 2 h 9"/>
                        <a:gd name="T16" fmla="*/ 1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1" y="3"/>
                          </a:moveTo>
                          <a:cubicBezTo>
                            <a:pt x="1" y="5"/>
                            <a:pt x="2" y="6"/>
                            <a:pt x="1" y="6"/>
                          </a:cubicBezTo>
                          <a:cubicBezTo>
                            <a:pt x="0" y="7"/>
                            <a:pt x="1" y="9"/>
                            <a:pt x="2" y="9"/>
                          </a:cubicBezTo>
                          <a:cubicBezTo>
                            <a:pt x="4" y="9"/>
                            <a:pt x="5" y="8"/>
                            <a:pt x="6" y="8"/>
                          </a:cubicBezTo>
                          <a:cubicBezTo>
                            <a:pt x="8" y="7"/>
                            <a:pt x="9" y="6"/>
                            <a:pt x="9" y="5"/>
                          </a:cubicBezTo>
                          <a:cubicBezTo>
                            <a:pt x="9" y="3"/>
                            <a:pt x="9" y="1"/>
                            <a:pt x="8" y="1"/>
                          </a:cubicBezTo>
                          <a:cubicBezTo>
                            <a:pt x="7" y="0"/>
                            <a:pt x="6" y="0"/>
                            <a:pt x="5" y="0"/>
                          </a:cubicBezTo>
                          <a:cubicBezTo>
                            <a:pt x="4" y="0"/>
                            <a:pt x="4" y="2"/>
                            <a:pt x="3" y="2"/>
                          </a:cubicBezTo>
                          <a:cubicBezTo>
                            <a:pt x="2" y="2"/>
                            <a:pt x="0" y="2"/>
                            <a:pt x="1"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8" name="iṣľíḓè"/>
                    <p:cNvSpPr/>
                    <p:nvPr/>
                  </p:nvSpPr>
                  <p:spPr bwMode="auto">
                    <a:xfrm>
                      <a:off x="6310178" y="4107430"/>
                      <a:ext cx="154857" cy="147223"/>
                    </a:xfrm>
                    <a:custGeom>
                      <a:avLst/>
                      <a:gdLst>
                        <a:gd name="T0" fmla="*/ 5 w 20"/>
                        <a:gd name="T1" fmla="*/ 9 h 19"/>
                        <a:gd name="T2" fmla="*/ 9 w 20"/>
                        <a:gd name="T3" fmla="*/ 11 h 19"/>
                        <a:gd name="T4" fmla="*/ 4 w 20"/>
                        <a:gd name="T5" fmla="*/ 16 h 19"/>
                        <a:gd name="T6" fmla="*/ 8 w 20"/>
                        <a:gd name="T7" fmla="*/ 17 h 19"/>
                        <a:gd name="T8" fmla="*/ 8 w 20"/>
                        <a:gd name="T9" fmla="*/ 18 h 19"/>
                        <a:gd name="T10" fmla="*/ 11 w 20"/>
                        <a:gd name="T11" fmla="*/ 17 h 19"/>
                        <a:gd name="T12" fmla="*/ 16 w 20"/>
                        <a:gd name="T13" fmla="*/ 18 h 19"/>
                        <a:gd name="T14" fmla="*/ 19 w 20"/>
                        <a:gd name="T15" fmla="*/ 15 h 19"/>
                        <a:gd name="T16" fmla="*/ 16 w 20"/>
                        <a:gd name="T17" fmla="*/ 11 h 19"/>
                        <a:gd name="T18" fmla="*/ 12 w 20"/>
                        <a:gd name="T19" fmla="*/ 6 h 19"/>
                        <a:gd name="T20" fmla="*/ 14 w 20"/>
                        <a:gd name="T21" fmla="*/ 2 h 19"/>
                        <a:gd name="T22" fmla="*/ 8 w 20"/>
                        <a:gd name="T23" fmla="*/ 1 h 19"/>
                        <a:gd name="T24" fmla="*/ 4 w 20"/>
                        <a:gd name="T25" fmla="*/ 2 h 19"/>
                        <a:gd name="T26" fmla="*/ 2 w 20"/>
                        <a:gd name="T27" fmla="*/ 2 h 19"/>
                        <a:gd name="T28" fmla="*/ 2 w 20"/>
                        <a:gd name="T29" fmla="*/ 5 h 19"/>
                        <a:gd name="T30" fmla="*/ 5 w 20"/>
                        <a:gd name="T3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9">
                          <a:moveTo>
                            <a:pt x="5" y="9"/>
                          </a:moveTo>
                          <a:cubicBezTo>
                            <a:pt x="7" y="9"/>
                            <a:pt x="11" y="10"/>
                            <a:pt x="9" y="11"/>
                          </a:cubicBezTo>
                          <a:cubicBezTo>
                            <a:pt x="8" y="11"/>
                            <a:pt x="4" y="15"/>
                            <a:pt x="4" y="16"/>
                          </a:cubicBezTo>
                          <a:cubicBezTo>
                            <a:pt x="4" y="17"/>
                            <a:pt x="8" y="17"/>
                            <a:pt x="8" y="17"/>
                          </a:cubicBezTo>
                          <a:cubicBezTo>
                            <a:pt x="8" y="17"/>
                            <a:pt x="7" y="18"/>
                            <a:pt x="8" y="18"/>
                          </a:cubicBezTo>
                          <a:cubicBezTo>
                            <a:pt x="9" y="19"/>
                            <a:pt x="10" y="17"/>
                            <a:pt x="11" y="17"/>
                          </a:cubicBezTo>
                          <a:cubicBezTo>
                            <a:pt x="12" y="17"/>
                            <a:pt x="15" y="18"/>
                            <a:pt x="16" y="18"/>
                          </a:cubicBezTo>
                          <a:cubicBezTo>
                            <a:pt x="18" y="18"/>
                            <a:pt x="20" y="16"/>
                            <a:pt x="19" y="15"/>
                          </a:cubicBezTo>
                          <a:cubicBezTo>
                            <a:pt x="19" y="14"/>
                            <a:pt x="17" y="12"/>
                            <a:pt x="16" y="11"/>
                          </a:cubicBezTo>
                          <a:cubicBezTo>
                            <a:pt x="14" y="10"/>
                            <a:pt x="13" y="7"/>
                            <a:pt x="12" y="6"/>
                          </a:cubicBezTo>
                          <a:cubicBezTo>
                            <a:pt x="10" y="5"/>
                            <a:pt x="15" y="3"/>
                            <a:pt x="14" y="2"/>
                          </a:cubicBezTo>
                          <a:cubicBezTo>
                            <a:pt x="13" y="1"/>
                            <a:pt x="9" y="1"/>
                            <a:pt x="8" y="1"/>
                          </a:cubicBezTo>
                          <a:cubicBezTo>
                            <a:pt x="6" y="0"/>
                            <a:pt x="5" y="1"/>
                            <a:pt x="4" y="2"/>
                          </a:cubicBezTo>
                          <a:cubicBezTo>
                            <a:pt x="4" y="3"/>
                            <a:pt x="3" y="1"/>
                            <a:pt x="2" y="2"/>
                          </a:cubicBezTo>
                          <a:cubicBezTo>
                            <a:pt x="0" y="2"/>
                            <a:pt x="1" y="4"/>
                            <a:pt x="2" y="5"/>
                          </a:cubicBezTo>
                          <a:cubicBezTo>
                            <a:pt x="2" y="6"/>
                            <a:pt x="4" y="8"/>
                            <a:pt x="5"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29" name="iṥḻíḍè"/>
                    <p:cNvSpPr/>
                    <p:nvPr/>
                  </p:nvSpPr>
                  <p:spPr bwMode="auto">
                    <a:xfrm>
                      <a:off x="6162955" y="3928581"/>
                      <a:ext cx="1130892" cy="1821205"/>
                    </a:xfrm>
                    <a:custGeom>
                      <a:avLst/>
                      <a:gdLst>
                        <a:gd name="T0" fmla="*/ 43 w 146"/>
                        <a:gd name="T1" fmla="*/ 19 h 235"/>
                        <a:gd name="T2" fmla="*/ 57 w 146"/>
                        <a:gd name="T3" fmla="*/ 30 h 235"/>
                        <a:gd name="T4" fmla="*/ 65 w 146"/>
                        <a:gd name="T5" fmla="*/ 33 h 235"/>
                        <a:gd name="T6" fmla="*/ 72 w 146"/>
                        <a:gd name="T7" fmla="*/ 16 h 235"/>
                        <a:gd name="T8" fmla="*/ 76 w 146"/>
                        <a:gd name="T9" fmla="*/ 24 h 235"/>
                        <a:gd name="T10" fmla="*/ 76 w 146"/>
                        <a:gd name="T11" fmla="*/ 26 h 235"/>
                        <a:gd name="T12" fmla="*/ 67 w 146"/>
                        <a:gd name="T13" fmla="*/ 34 h 235"/>
                        <a:gd name="T14" fmla="*/ 57 w 146"/>
                        <a:gd name="T15" fmla="*/ 34 h 235"/>
                        <a:gd name="T16" fmla="*/ 50 w 146"/>
                        <a:gd name="T17" fmla="*/ 29 h 235"/>
                        <a:gd name="T18" fmla="*/ 38 w 146"/>
                        <a:gd name="T19" fmla="*/ 40 h 235"/>
                        <a:gd name="T20" fmla="*/ 33 w 146"/>
                        <a:gd name="T21" fmla="*/ 50 h 235"/>
                        <a:gd name="T22" fmla="*/ 17 w 146"/>
                        <a:gd name="T23" fmla="*/ 66 h 235"/>
                        <a:gd name="T24" fmla="*/ 27 w 146"/>
                        <a:gd name="T25" fmla="*/ 72 h 235"/>
                        <a:gd name="T26" fmla="*/ 42 w 146"/>
                        <a:gd name="T27" fmla="*/ 61 h 235"/>
                        <a:gd name="T28" fmla="*/ 60 w 146"/>
                        <a:gd name="T29" fmla="*/ 62 h 235"/>
                        <a:gd name="T30" fmla="*/ 71 w 146"/>
                        <a:gd name="T31" fmla="*/ 66 h 235"/>
                        <a:gd name="T32" fmla="*/ 69 w 146"/>
                        <a:gd name="T33" fmla="*/ 60 h 235"/>
                        <a:gd name="T34" fmla="*/ 83 w 146"/>
                        <a:gd name="T35" fmla="*/ 71 h 235"/>
                        <a:gd name="T36" fmla="*/ 90 w 146"/>
                        <a:gd name="T37" fmla="*/ 75 h 235"/>
                        <a:gd name="T38" fmla="*/ 100 w 146"/>
                        <a:gd name="T39" fmla="*/ 85 h 235"/>
                        <a:gd name="T40" fmla="*/ 87 w 146"/>
                        <a:gd name="T41" fmla="*/ 91 h 235"/>
                        <a:gd name="T42" fmla="*/ 70 w 146"/>
                        <a:gd name="T43" fmla="*/ 87 h 235"/>
                        <a:gd name="T44" fmla="*/ 59 w 146"/>
                        <a:gd name="T45" fmla="*/ 75 h 235"/>
                        <a:gd name="T46" fmla="*/ 24 w 146"/>
                        <a:gd name="T47" fmla="*/ 76 h 235"/>
                        <a:gd name="T48" fmla="*/ 3 w 146"/>
                        <a:gd name="T49" fmla="*/ 106 h 235"/>
                        <a:gd name="T50" fmla="*/ 4 w 146"/>
                        <a:gd name="T51" fmla="*/ 135 h 235"/>
                        <a:gd name="T52" fmla="*/ 27 w 146"/>
                        <a:gd name="T53" fmla="*/ 150 h 235"/>
                        <a:gd name="T54" fmla="*/ 53 w 146"/>
                        <a:gd name="T55" fmla="*/ 150 h 235"/>
                        <a:gd name="T56" fmla="*/ 61 w 146"/>
                        <a:gd name="T57" fmla="*/ 176 h 235"/>
                        <a:gd name="T58" fmla="*/ 61 w 146"/>
                        <a:gd name="T59" fmla="*/ 209 h 235"/>
                        <a:gd name="T60" fmla="*/ 66 w 146"/>
                        <a:gd name="T61" fmla="*/ 230 h 235"/>
                        <a:gd name="T62" fmla="*/ 90 w 146"/>
                        <a:gd name="T63" fmla="*/ 223 h 235"/>
                        <a:gd name="T64" fmla="*/ 100 w 146"/>
                        <a:gd name="T65" fmla="*/ 200 h 235"/>
                        <a:gd name="T66" fmla="*/ 107 w 146"/>
                        <a:gd name="T67" fmla="*/ 174 h 235"/>
                        <a:gd name="T68" fmla="*/ 125 w 146"/>
                        <a:gd name="T69" fmla="*/ 139 h 235"/>
                        <a:gd name="T70" fmla="*/ 112 w 146"/>
                        <a:gd name="T71" fmla="*/ 126 h 235"/>
                        <a:gd name="T72" fmla="*/ 99 w 146"/>
                        <a:gd name="T73" fmla="*/ 95 h 235"/>
                        <a:gd name="T74" fmla="*/ 112 w 146"/>
                        <a:gd name="T75" fmla="*/ 117 h 235"/>
                        <a:gd name="T76" fmla="*/ 129 w 146"/>
                        <a:gd name="T77" fmla="*/ 122 h 235"/>
                        <a:gd name="T78" fmla="*/ 132 w 146"/>
                        <a:gd name="T79" fmla="*/ 102 h 235"/>
                        <a:gd name="T80" fmla="*/ 122 w 146"/>
                        <a:gd name="T81" fmla="*/ 94 h 235"/>
                        <a:gd name="T82" fmla="*/ 135 w 146"/>
                        <a:gd name="T83" fmla="*/ 103 h 235"/>
                        <a:gd name="T84" fmla="*/ 103 w 146"/>
                        <a:gd name="T85" fmla="*/ 18 h 235"/>
                        <a:gd name="T86" fmla="*/ 96 w 146"/>
                        <a:gd name="T87" fmla="*/ 13 h 235"/>
                        <a:gd name="T88" fmla="*/ 99 w 146"/>
                        <a:gd name="T89" fmla="*/ 159 h 235"/>
                        <a:gd name="T90" fmla="*/ 122 w 146"/>
                        <a:gd name="T91" fmla="*/ 56 h 235"/>
                        <a:gd name="T92" fmla="*/ 123 w 146"/>
                        <a:gd name="T93" fmla="*/ 61 h 235"/>
                        <a:gd name="T94" fmla="*/ 129 w 146"/>
                        <a:gd name="T95" fmla="*/ 77 h 235"/>
                        <a:gd name="T96" fmla="*/ 121 w 146"/>
                        <a:gd name="T97" fmla="*/ 66 h 235"/>
                        <a:gd name="T98" fmla="*/ 94 w 146"/>
                        <a:gd name="T99" fmla="*/ 25 h 235"/>
                        <a:gd name="T100" fmla="*/ 101 w 146"/>
                        <a:gd name="T101" fmla="*/ 55 h 235"/>
                        <a:gd name="T102" fmla="*/ 110 w 146"/>
                        <a:gd name="T103" fmla="*/ 66 h 235"/>
                        <a:gd name="T104" fmla="*/ 88 w 146"/>
                        <a:gd name="T105" fmla="*/ 6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235">
                          <a:moveTo>
                            <a:pt x="74" y="1"/>
                          </a:moveTo>
                          <a:cubicBezTo>
                            <a:pt x="71" y="1"/>
                            <a:pt x="61" y="5"/>
                            <a:pt x="60" y="6"/>
                          </a:cubicBezTo>
                          <a:cubicBezTo>
                            <a:pt x="60" y="6"/>
                            <a:pt x="59" y="8"/>
                            <a:pt x="57" y="10"/>
                          </a:cubicBezTo>
                          <a:cubicBezTo>
                            <a:pt x="56" y="11"/>
                            <a:pt x="52" y="12"/>
                            <a:pt x="49" y="13"/>
                          </a:cubicBezTo>
                          <a:cubicBezTo>
                            <a:pt x="47" y="13"/>
                            <a:pt x="43" y="18"/>
                            <a:pt x="43" y="19"/>
                          </a:cubicBezTo>
                          <a:cubicBezTo>
                            <a:pt x="43" y="19"/>
                            <a:pt x="45" y="22"/>
                            <a:pt x="45" y="22"/>
                          </a:cubicBezTo>
                          <a:cubicBezTo>
                            <a:pt x="44" y="23"/>
                            <a:pt x="46" y="26"/>
                            <a:pt x="47" y="26"/>
                          </a:cubicBezTo>
                          <a:cubicBezTo>
                            <a:pt x="49" y="27"/>
                            <a:pt x="52" y="27"/>
                            <a:pt x="52" y="26"/>
                          </a:cubicBezTo>
                          <a:cubicBezTo>
                            <a:pt x="52" y="25"/>
                            <a:pt x="54" y="23"/>
                            <a:pt x="55" y="24"/>
                          </a:cubicBezTo>
                          <a:cubicBezTo>
                            <a:pt x="55" y="26"/>
                            <a:pt x="57" y="29"/>
                            <a:pt x="57" y="30"/>
                          </a:cubicBezTo>
                          <a:cubicBezTo>
                            <a:pt x="57" y="30"/>
                            <a:pt x="57" y="32"/>
                            <a:pt x="57" y="33"/>
                          </a:cubicBezTo>
                          <a:cubicBezTo>
                            <a:pt x="57" y="33"/>
                            <a:pt x="57" y="33"/>
                            <a:pt x="57" y="33"/>
                          </a:cubicBezTo>
                          <a:cubicBezTo>
                            <a:pt x="58" y="33"/>
                            <a:pt x="58" y="35"/>
                            <a:pt x="58" y="35"/>
                          </a:cubicBezTo>
                          <a:cubicBezTo>
                            <a:pt x="58" y="35"/>
                            <a:pt x="59" y="37"/>
                            <a:pt x="60" y="37"/>
                          </a:cubicBezTo>
                          <a:cubicBezTo>
                            <a:pt x="61" y="31"/>
                            <a:pt x="65" y="33"/>
                            <a:pt x="65" y="33"/>
                          </a:cubicBezTo>
                          <a:cubicBezTo>
                            <a:pt x="65" y="33"/>
                            <a:pt x="67" y="31"/>
                            <a:pt x="66" y="30"/>
                          </a:cubicBezTo>
                          <a:cubicBezTo>
                            <a:pt x="66" y="28"/>
                            <a:pt x="68" y="26"/>
                            <a:pt x="68" y="25"/>
                          </a:cubicBezTo>
                          <a:cubicBezTo>
                            <a:pt x="69" y="25"/>
                            <a:pt x="70" y="23"/>
                            <a:pt x="68" y="22"/>
                          </a:cubicBezTo>
                          <a:cubicBezTo>
                            <a:pt x="66" y="21"/>
                            <a:pt x="64" y="20"/>
                            <a:pt x="66" y="19"/>
                          </a:cubicBezTo>
                          <a:cubicBezTo>
                            <a:pt x="68" y="17"/>
                            <a:pt x="70" y="19"/>
                            <a:pt x="72" y="16"/>
                          </a:cubicBezTo>
                          <a:cubicBezTo>
                            <a:pt x="74" y="13"/>
                            <a:pt x="71" y="12"/>
                            <a:pt x="74" y="12"/>
                          </a:cubicBezTo>
                          <a:cubicBezTo>
                            <a:pt x="77" y="12"/>
                            <a:pt x="80" y="12"/>
                            <a:pt x="79" y="13"/>
                          </a:cubicBezTo>
                          <a:cubicBezTo>
                            <a:pt x="79" y="14"/>
                            <a:pt x="75" y="16"/>
                            <a:pt x="74" y="17"/>
                          </a:cubicBezTo>
                          <a:cubicBezTo>
                            <a:pt x="72" y="18"/>
                            <a:pt x="72" y="20"/>
                            <a:pt x="73" y="21"/>
                          </a:cubicBezTo>
                          <a:cubicBezTo>
                            <a:pt x="74" y="22"/>
                            <a:pt x="75" y="24"/>
                            <a:pt x="76" y="24"/>
                          </a:cubicBezTo>
                          <a:cubicBezTo>
                            <a:pt x="77" y="24"/>
                            <a:pt x="79" y="23"/>
                            <a:pt x="80" y="23"/>
                          </a:cubicBezTo>
                          <a:cubicBezTo>
                            <a:pt x="82" y="23"/>
                            <a:pt x="85" y="23"/>
                            <a:pt x="85" y="23"/>
                          </a:cubicBezTo>
                          <a:cubicBezTo>
                            <a:pt x="86" y="23"/>
                            <a:pt x="88" y="26"/>
                            <a:pt x="87" y="26"/>
                          </a:cubicBezTo>
                          <a:cubicBezTo>
                            <a:pt x="86" y="26"/>
                            <a:pt x="84" y="26"/>
                            <a:pt x="82" y="26"/>
                          </a:cubicBezTo>
                          <a:cubicBezTo>
                            <a:pt x="79" y="26"/>
                            <a:pt x="76" y="26"/>
                            <a:pt x="76" y="26"/>
                          </a:cubicBezTo>
                          <a:cubicBezTo>
                            <a:pt x="76" y="27"/>
                            <a:pt x="80" y="28"/>
                            <a:pt x="79" y="29"/>
                          </a:cubicBezTo>
                          <a:cubicBezTo>
                            <a:pt x="78" y="30"/>
                            <a:pt x="76" y="29"/>
                            <a:pt x="75" y="28"/>
                          </a:cubicBezTo>
                          <a:cubicBezTo>
                            <a:pt x="73" y="28"/>
                            <a:pt x="73" y="30"/>
                            <a:pt x="72" y="32"/>
                          </a:cubicBezTo>
                          <a:cubicBezTo>
                            <a:pt x="72" y="33"/>
                            <a:pt x="74" y="36"/>
                            <a:pt x="71" y="35"/>
                          </a:cubicBezTo>
                          <a:cubicBezTo>
                            <a:pt x="69" y="34"/>
                            <a:pt x="67" y="33"/>
                            <a:pt x="67" y="34"/>
                          </a:cubicBezTo>
                          <a:cubicBezTo>
                            <a:pt x="66" y="34"/>
                            <a:pt x="65" y="35"/>
                            <a:pt x="63" y="35"/>
                          </a:cubicBezTo>
                          <a:cubicBezTo>
                            <a:pt x="62" y="36"/>
                            <a:pt x="62" y="38"/>
                            <a:pt x="60" y="37"/>
                          </a:cubicBezTo>
                          <a:cubicBezTo>
                            <a:pt x="60" y="37"/>
                            <a:pt x="60" y="37"/>
                            <a:pt x="60" y="37"/>
                          </a:cubicBezTo>
                          <a:cubicBezTo>
                            <a:pt x="58" y="37"/>
                            <a:pt x="58" y="37"/>
                            <a:pt x="58" y="37"/>
                          </a:cubicBezTo>
                          <a:cubicBezTo>
                            <a:pt x="58" y="36"/>
                            <a:pt x="58" y="35"/>
                            <a:pt x="57" y="34"/>
                          </a:cubicBezTo>
                          <a:cubicBezTo>
                            <a:pt x="57" y="34"/>
                            <a:pt x="57" y="34"/>
                            <a:pt x="57" y="33"/>
                          </a:cubicBezTo>
                          <a:cubicBezTo>
                            <a:pt x="57" y="33"/>
                            <a:pt x="56" y="33"/>
                            <a:pt x="56" y="33"/>
                          </a:cubicBezTo>
                          <a:cubicBezTo>
                            <a:pt x="56" y="33"/>
                            <a:pt x="55" y="33"/>
                            <a:pt x="55" y="31"/>
                          </a:cubicBezTo>
                          <a:cubicBezTo>
                            <a:pt x="54" y="30"/>
                            <a:pt x="55" y="28"/>
                            <a:pt x="54" y="28"/>
                          </a:cubicBezTo>
                          <a:cubicBezTo>
                            <a:pt x="53" y="28"/>
                            <a:pt x="51" y="28"/>
                            <a:pt x="50" y="29"/>
                          </a:cubicBezTo>
                          <a:cubicBezTo>
                            <a:pt x="50" y="30"/>
                            <a:pt x="49" y="32"/>
                            <a:pt x="50" y="33"/>
                          </a:cubicBezTo>
                          <a:cubicBezTo>
                            <a:pt x="51" y="34"/>
                            <a:pt x="53" y="36"/>
                            <a:pt x="51" y="35"/>
                          </a:cubicBezTo>
                          <a:cubicBezTo>
                            <a:pt x="49" y="35"/>
                            <a:pt x="47" y="34"/>
                            <a:pt x="46" y="35"/>
                          </a:cubicBezTo>
                          <a:cubicBezTo>
                            <a:pt x="45" y="36"/>
                            <a:pt x="42" y="39"/>
                            <a:pt x="42" y="39"/>
                          </a:cubicBezTo>
                          <a:cubicBezTo>
                            <a:pt x="42" y="39"/>
                            <a:pt x="38" y="39"/>
                            <a:pt x="38" y="40"/>
                          </a:cubicBezTo>
                          <a:cubicBezTo>
                            <a:pt x="38" y="41"/>
                            <a:pt x="39" y="43"/>
                            <a:pt x="37" y="43"/>
                          </a:cubicBezTo>
                          <a:cubicBezTo>
                            <a:pt x="36" y="43"/>
                            <a:pt x="34" y="43"/>
                            <a:pt x="32" y="44"/>
                          </a:cubicBezTo>
                          <a:cubicBezTo>
                            <a:pt x="30" y="44"/>
                            <a:pt x="30" y="45"/>
                            <a:pt x="27" y="45"/>
                          </a:cubicBezTo>
                          <a:cubicBezTo>
                            <a:pt x="25" y="45"/>
                            <a:pt x="25" y="46"/>
                            <a:pt x="27" y="47"/>
                          </a:cubicBezTo>
                          <a:cubicBezTo>
                            <a:pt x="29" y="47"/>
                            <a:pt x="33" y="49"/>
                            <a:pt x="33" y="50"/>
                          </a:cubicBezTo>
                          <a:cubicBezTo>
                            <a:pt x="33" y="52"/>
                            <a:pt x="33" y="54"/>
                            <a:pt x="32" y="56"/>
                          </a:cubicBezTo>
                          <a:cubicBezTo>
                            <a:pt x="32" y="57"/>
                            <a:pt x="28" y="56"/>
                            <a:pt x="26" y="56"/>
                          </a:cubicBezTo>
                          <a:cubicBezTo>
                            <a:pt x="24" y="56"/>
                            <a:pt x="20" y="55"/>
                            <a:pt x="18" y="56"/>
                          </a:cubicBezTo>
                          <a:cubicBezTo>
                            <a:pt x="16" y="57"/>
                            <a:pt x="17" y="61"/>
                            <a:pt x="17" y="62"/>
                          </a:cubicBezTo>
                          <a:cubicBezTo>
                            <a:pt x="18" y="64"/>
                            <a:pt x="17" y="65"/>
                            <a:pt x="17" y="66"/>
                          </a:cubicBezTo>
                          <a:cubicBezTo>
                            <a:pt x="16" y="66"/>
                            <a:pt x="16" y="68"/>
                            <a:pt x="17" y="69"/>
                          </a:cubicBezTo>
                          <a:cubicBezTo>
                            <a:pt x="18" y="70"/>
                            <a:pt x="18" y="72"/>
                            <a:pt x="19" y="72"/>
                          </a:cubicBezTo>
                          <a:cubicBezTo>
                            <a:pt x="20" y="72"/>
                            <a:pt x="22" y="71"/>
                            <a:pt x="23" y="72"/>
                          </a:cubicBezTo>
                          <a:cubicBezTo>
                            <a:pt x="24" y="73"/>
                            <a:pt x="25" y="76"/>
                            <a:pt x="25" y="75"/>
                          </a:cubicBezTo>
                          <a:cubicBezTo>
                            <a:pt x="26" y="74"/>
                            <a:pt x="26" y="72"/>
                            <a:pt x="27" y="72"/>
                          </a:cubicBezTo>
                          <a:cubicBezTo>
                            <a:pt x="28" y="73"/>
                            <a:pt x="30" y="72"/>
                            <a:pt x="32" y="72"/>
                          </a:cubicBezTo>
                          <a:cubicBezTo>
                            <a:pt x="33" y="72"/>
                            <a:pt x="34" y="70"/>
                            <a:pt x="36" y="69"/>
                          </a:cubicBezTo>
                          <a:cubicBezTo>
                            <a:pt x="37" y="68"/>
                            <a:pt x="36" y="68"/>
                            <a:pt x="36" y="67"/>
                          </a:cubicBezTo>
                          <a:cubicBezTo>
                            <a:pt x="35" y="66"/>
                            <a:pt x="37" y="64"/>
                            <a:pt x="38" y="63"/>
                          </a:cubicBezTo>
                          <a:cubicBezTo>
                            <a:pt x="39" y="62"/>
                            <a:pt x="42" y="63"/>
                            <a:pt x="42" y="61"/>
                          </a:cubicBezTo>
                          <a:cubicBezTo>
                            <a:pt x="42" y="60"/>
                            <a:pt x="42" y="57"/>
                            <a:pt x="44" y="57"/>
                          </a:cubicBezTo>
                          <a:cubicBezTo>
                            <a:pt x="45" y="58"/>
                            <a:pt x="47" y="59"/>
                            <a:pt x="48" y="59"/>
                          </a:cubicBezTo>
                          <a:cubicBezTo>
                            <a:pt x="49" y="59"/>
                            <a:pt x="52" y="57"/>
                            <a:pt x="52" y="56"/>
                          </a:cubicBezTo>
                          <a:cubicBezTo>
                            <a:pt x="53" y="56"/>
                            <a:pt x="55" y="56"/>
                            <a:pt x="56" y="58"/>
                          </a:cubicBezTo>
                          <a:cubicBezTo>
                            <a:pt x="56" y="60"/>
                            <a:pt x="59" y="62"/>
                            <a:pt x="60" y="62"/>
                          </a:cubicBezTo>
                          <a:cubicBezTo>
                            <a:pt x="60" y="63"/>
                            <a:pt x="65" y="65"/>
                            <a:pt x="65" y="65"/>
                          </a:cubicBezTo>
                          <a:cubicBezTo>
                            <a:pt x="66" y="66"/>
                            <a:pt x="67" y="68"/>
                            <a:pt x="67" y="69"/>
                          </a:cubicBezTo>
                          <a:cubicBezTo>
                            <a:pt x="68" y="71"/>
                            <a:pt x="70" y="73"/>
                            <a:pt x="70" y="71"/>
                          </a:cubicBezTo>
                          <a:cubicBezTo>
                            <a:pt x="70" y="70"/>
                            <a:pt x="68" y="66"/>
                            <a:pt x="69" y="66"/>
                          </a:cubicBezTo>
                          <a:cubicBezTo>
                            <a:pt x="70" y="66"/>
                            <a:pt x="71" y="66"/>
                            <a:pt x="71" y="66"/>
                          </a:cubicBezTo>
                          <a:cubicBezTo>
                            <a:pt x="71" y="66"/>
                            <a:pt x="68" y="63"/>
                            <a:pt x="67" y="62"/>
                          </a:cubicBezTo>
                          <a:cubicBezTo>
                            <a:pt x="66" y="62"/>
                            <a:pt x="64" y="60"/>
                            <a:pt x="63" y="58"/>
                          </a:cubicBezTo>
                          <a:cubicBezTo>
                            <a:pt x="62" y="56"/>
                            <a:pt x="59" y="56"/>
                            <a:pt x="59" y="54"/>
                          </a:cubicBezTo>
                          <a:cubicBezTo>
                            <a:pt x="59" y="52"/>
                            <a:pt x="62" y="53"/>
                            <a:pt x="63" y="55"/>
                          </a:cubicBezTo>
                          <a:cubicBezTo>
                            <a:pt x="64" y="57"/>
                            <a:pt x="68" y="59"/>
                            <a:pt x="69" y="60"/>
                          </a:cubicBezTo>
                          <a:cubicBezTo>
                            <a:pt x="70" y="62"/>
                            <a:pt x="72" y="62"/>
                            <a:pt x="72" y="64"/>
                          </a:cubicBezTo>
                          <a:cubicBezTo>
                            <a:pt x="73" y="66"/>
                            <a:pt x="74" y="68"/>
                            <a:pt x="75" y="69"/>
                          </a:cubicBezTo>
                          <a:cubicBezTo>
                            <a:pt x="76" y="69"/>
                            <a:pt x="76" y="76"/>
                            <a:pt x="77" y="77"/>
                          </a:cubicBezTo>
                          <a:cubicBezTo>
                            <a:pt x="77" y="78"/>
                            <a:pt x="80" y="75"/>
                            <a:pt x="80" y="74"/>
                          </a:cubicBezTo>
                          <a:cubicBezTo>
                            <a:pt x="81" y="73"/>
                            <a:pt x="83" y="73"/>
                            <a:pt x="83" y="71"/>
                          </a:cubicBezTo>
                          <a:cubicBezTo>
                            <a:pt x="83" y="70"/>
                            <a:pt x="81" y="69"/>
                            <a:pt x="80" y="68"/>
                          </a:cubicBezTo>
                          <a:cubicBezTo>
                            <a:pt x="79" y="67"/>
                            <a:pt x="81" y="67"/>
                            <a:pt x="82" y="66"/>
                          </a:cubicBezTo>
                          <a:cubicBezTo>
                            <a:pt x="83" y="65"/>
                            <a:pt x="84" y="64"/>
                            <a:pt x="85" y="65"/>
                          </a:cubicBezTo>
                          <a:cubicBezTo>
                            <a:pt x="85" y="67"/>
                            <a:pt x="85" y="71"/>
                            <a:pt x="86" y="72"/>
                          </a:cubicBezTo>
                          <a:cubicBezTo>
                            <a:pt x="86" y="73"/>
                            <a:pt x="89" y="74"/>
                            <a:pt x="90" y="75"/>
                          </a:cubicBezTo>
                          <a:cubicBezTo>
                            <a:pt x="90" y="76"/>
                            <a:pt x="93" y="77"/>
                            <a:pt x="93" y="76"/>
                          </a:cubicBezTo>
                          <a:cubicBezTo>
                            <a:pt x="94" y="75"/>
                            <a:pt x="96" y="77"/>
                            <a:pt x="97" y="77"/>
                          </a:cubicBezTo>
                          <a:cubicBezTo>
                            <a:pt x="97" y="77"/>
                            <a:pt x="99" y="77"/>
                            <a:pt x="100" y="76"/>
                          </a:cubicBezTo>
                          <a:cubicBezTo>
                            <a:pt x="101" y="76"/>
                            <a:pt x="102" y="75"/>
                            <a:pt x="102" y="77"/>
                          </a:cubicBezTo>
                          <a:cubicBezTo>
                            <a:pt x="102" y="80"/>
                            <a:pt x="102" y="84"/>
                            <a:pt x="100" y="85"/>
                          </a:cubicBezTo>
                          <a:cubicBezTo>
                            <a:pt x="99" y="87"/>
                            <a:pt x="100" y="88"/>
                            <a:pt x="98" y="88"/>
                          </a:cubicBezTo>
                          <a:cubicBezTo>
                            <a:pt x="98" y="88"/>
                            <a:pt x="97" y="88"/>
                            <a:pt x="97" y="88"/>
                          </a:cubicBezTo>
                          <a:cubicBezTo>
                            <a:pt x="96" y="87"/>
                            <a:pt x="95" y="87"/>
                            <a:pt x="95" y="87"/>
                          </a:cubicBezTo>
                          <a:cubicBezTo>
                            <a:pt x="93" y="87"/>
                            <a:pt x="91" y="87"/>
                            <a:pt x="89" y="90"/>
                          </a:cubicBezTo>
                          <a:cubicBezTo>
                            <a:pt x="88" y="92"/>
                            <a:pt x="87" y="92"/>
                            <a:pt x="87" y="91"/>
                          </a:cubicBezTo>
                          <a:cubicBezTo>
                            <a:pt x="87" y="90"/>
                            <a:pt x="91" y="87"/>
                            <a:pt x="90" y="86"/>
                          </a:cubicBezTo>
                          <a:cubicBezTo>
                            <a:pt x="90" y="85"/>
                            <a:pt x="86" y="86"/>
                            <a:pt x="84" y="85"/>
                          </a:cubicBezTo>
                          <a:cubicBezTo>
                            <a:pt x="82" y="85"/>
                            <a:pt x="81" y="84"/>
                            <a:pt x="79" y="83"/>
                          </a:cubicBezTo>
                          <a:cubicBezTo>
                            <a:pt x="78" y="83"/>
                            <a:pt x="77" y="87"/>
                            <a:pt x="76" y="89"/>
                          </a:cubicBezTo>
                          <a:cubicBezTo>
                            <a:pt x="74" y="91"/>
                            <a:pt x="72" y="88"/>
                            <a:pt x="70" y="87"/>
                          </a:cubicBezTo>
                          <a:cubicBezTo>
                            <a:pt x="69" y="87"/>
                            <a:pt x="66" y="85"/>
                            <a:pt x="66" y="85"/>
                          </a:cubicBezTo>
                          <a:cubicBezTo>
                            <a:pt x="66" y="85"/>
                            <a:pt x="63" y="83"/>
                            <a:pt x="62" y="83"/>
                          </a:cubicBezTo>
                          <a:cubicBezTo>
                            <a:pt x="61" y="83"/>
                            <a:pt x="59" y="81"/>
                            <a:pt x="58" y="80"/>
                          </a:cubicBezTo>
                          <a:cubicBezTo>
                            <a:pt x="57" y="80"/>
                            <a:pt x="55" y="79"/>
                            <a:pt x="57" y="78"/>
                          </a:cubicBezTo>
                          <a:cubicBezTo>
                            <a:pt x="58" y="77"/>
                            <a:pt x="61" y="79"/>
                            <a:pt x="59" y="75"/>
                          </a:cubicBezTo>
                          <a:cubicBezTo>
                            <a:pt x="58" y="70"/>
                            <a:pt x="53" y="71"/>
                            <a:pt x="52" y="71"/>
                          </a:cubicBezTo>
                          <a:cubicBezTo>
                            <a:pt x="51" y="72"/>
                            <a:pt x="43" y="71"/>
                            <a:pt x="42" y="71"/>
                          </a:cubicBezTo>
                          <a:cubicBezTo>
                            <a:pt x="42" y="71"/>
                            <a:pt x="37" y="73"/>
                            <a:pt x="35" y="74"/>
                          </a:cubicBezTo>
                          <a:cubicBezTo>
                            <a:pt x="34" y="75"/>
                            <a:pt x="31" y="76"/>
                            <a:pt x="30" y="76"/>
                          </a:cubicBezTo>
                          <a:cubicBezTo>
                            <a:pt x="30" y="77"/>
                            <a:pt x="26" y="75"/>
                            <a:pt x="24" y="76"/>
                          </a:cubicBezTo>
                          <a:cubicBezTo>
                            <a:pt x="22" y="78"/>
                            <a:pt x="20" y="80"/>
                            <a:pt x="20" y="80"/>
                          </a:cubicBezTo>
                          <a:cubicBezTo>
                            <a:pt x="19" y="80"/>
                            <a:pt x="18" y="81"/>
                            <a:pt x="17" y="84"/>
                          </a:cubicBezTo>
                          <a:cubicBezTo>
                            <a:pt x="16" y="87"/>
                            <a:pt x="17" y="90"/>
                            <a:pt x="15" y="91"/>
                          </a:cubicBezTo>
                          <a:cubicBezTo>
                            <a:pt x="13" y="92"/>
                            <a:pt x="9" y="94"/>
                            <a:pt x="8" y="95"/>
                          </a:cubicBezTo>
                          <a:cubicBezTo>
                            <a:pt x="6" y="97"/>
                            <a:pt x="5" y="103"/>
                            <a:pt x="3" y="106"/>
                          </a:cubicBezTo>
                          <a:cubicBezTo>
                            <a:pt x="2" y="109"/>
                            <a:pt x="3" y="111"/>
                            <a:pt x="4" y="113"/>
                          </a:cubicBezTo>
                          <a:cubicBezTo>
                            <a:pt x="4" y="115"/>
                            <a:pt x="5" y="118"/>
                            <a:pt x="3" y="121"/>
                          </a:cubicBezTo>
                          <a:cubicBezTo>
                            <a:pt x="1" y="124"/>
                            <a:pt x="2" y="125"/>
                            <a:pt x="1" y="126"/>
                          </a:cubicBezTo>
                          <a:cubicBezTo>
                            <a:pt x="0" y="126"/>
                            <a:pt x="2" y="127"/>
                            <a:pt x="2" y="129"/>
                          </a:cubicBezTo>
                          <a:cubicBezTo>
                            <a:pt x="2" y="131"/>
                            <a:pt x="0" y="133"/>
                            <a:pt x="4" y="135"/>
                          </a:cubicBezTo>
                          <a:cubicBezTo>
                            <a:pt x="7" y="137"/>
                            <a:pt x="10" y="137"/>
                            <a:pt x="11" y="139"/>
                          </a:cubicBezTo>
                          <a:cubicBezTo>
                            <a:pt x="12" y="142"/>
                            <a:pt x="15" y="148"/>
                            <a:pt x="15" y="148"/>
                          </a:cubicBezTo>
                          <a:cubicBezTo>
                            <a:pt x="15" y="148"/>
                            <a:pt x="18" y="151"/>
                            <a:pt x="20" y="152"/>
                          </a:cubicBezTo>
                          <a:cubicBezTo>
                            <a:pt x="21" y="154"/>
                            <a:pt x="22" y="153"/>
                            <a:pt x="22" y="151"/>
                          </a:cubicBezTo>
                          <a:cubicBezTo>
                            <a:pt x="22" y="150"/>
                            <a:pt x="24" y="150"/>
                            <a:pt x="27" y="150"/>
                          </a:cubicBezTo>
                          <a:cubicBezTo>
                            <a:pt x="29" y="150"/>
                            <a:pt x="31" y="150"/>
                            <a:pt x="33" y="150"/>
                          </a:cubicBezTo>
                          <a:cubicBezTo>
                            <a:pt x="36" y="149"/>
                            <a:pt x="38" y="146"/>
                            <a:pt x="39" y="145"/>
                          </a:cubicBezTo>
                          <a:cubicBezTo>
                            <a:pt x="39" y="145"/>
                            <a:pt x="43" y="144"/>
                            <a:pt x="45" y="146"/>
                          </a:cubicBezTo>
                          <a:cubicBezTo>
                            <a:pt x="47" y="148"/>
                            <a:pt x="47" y="150"/>
                            <a:pt x="48" y="151"/>
                          </a:cubicBezTo>
                          <a:cubicBezTo>
                            <a:pt x="49" y="153"/>
                            <a:pt x="51" y="152"/>
                            <a:pt x="53" y="150"/>
                          </a:cubicBezTo>
                          <a:cubicBezTo>
                            <a:pt x="54" y="149"/>
                            <a:pt x="54" y="149"/>
                            <a:pt x="55" y="151"/>
                          </a:cubicBezTo>
                          <a:cubicBezTo>
                            <a:pt x="57" y="152"/>
                            <a:pt x="58" y="153"/>
                            <a:pt x="56" y="155"/>
                          </a:cubicBezTo>
                          <a:cubicBezTo>
                            <a:pt x="55" y="157"/>
                            <a:pt x="55" y="159"/>
                            <a:pt x="54" y="162"/>
                          </a:cubicBezTo>
                          <a:cubicBezTo>
                            <a:pt x="53" y="165"/>
                            <a:pt x="55" y="165"/>
                            <a:pt x="57" y="166"/>
                          </a:cubicBezTo>
                          <a:cubicBezTo>
                            <a:pt x="59" y="167"/>
                            <a:pt x="60" y="175"/>
                            <a:pt x="61" y="176"/>
                          </a:cubicBezTo>
                          <a:cubicBezTo>
                            <a:pt x="62" y="178"/>
                            <a:pt x="60" y="182"/>
                            <a:pt x="61" y="184"/>
                          </a:cubicBezTo>
                          <a:cubicBezTo>
                            <a:pt x="62" y="186"/>
                            <a:pt x="63" y="187"/>
                            <a:pt x="61" y="189"/>
                          </a:cubicBezTo>
                          <a:cubicBezTo>
                            <a:pt x="60" y="190"/>
                            <a:pt x="58" y="192"/>
                            <a:pt x="58" y="196"/>
                          </a:cubicBezTo>
                          <a:cubicBezTo>
                            <a:pt x="57" y="200"/>
                            <a:pt x="58" y="202"/>
                            <a:pt x="58" y="203"/>
                          </a:cubicBezTo>
                          <a:cubicBezTo>
                            <a:pt x="59" y="204"/>
                            <a:pt x="60" y="208"/>
                            <a:pt x="61" y="209"/>
                          </a:cubicBezTo>
                          <a:cubicBezTo>
                            <a:pt x="62" y="210"/>
                            <a:pt x="64" y="212"/>
                            <a:pt x="64" y="214"/>
                          </a:cubicBezTo>
                          <a:cubicBezTo>
                            <a:pt x="64" y="216"/>
                            <a:pt x="61" y="219"/>
                            <a:pt x="62" y="220"/>
                          </a:cubicBezTo>
                          <a:cubicBezTo>
                            <a:pt x="63" y="221"/>
                            <a:pt x="63" y="222"/>
                            <a:pt x="64" y="224"/>
                          </a:cubicBezTo>
                          <a:cubicBezTo>
                            <a:pt x="66" y="225"/>
                            <a:pt x="66" y="228"/>
                            <a:pt x="66" y="228"/>
                          </a:cubicBezTo>
                          <a:cubicBezTo>
                            <a:pt x="66" y="228"/>
                            <a:pt x="66" y="229"/>
                            <a:pt x="66" y="230"/>
                          </a:cubicBezTo>
                          <a:cubicBezTo>
                            <a:pt x="66" y="232"/>
                            <a:pt x="66" y="233"/>
                            <a:pt x="67" y="234"/>
                          </a:cubicBezTo>
                          <a:cubicBezTo>
                            <a:pt x="69" y="235"/>
                            <a:pt x="70" y="235"/>
                            <a:pt x="70" y="234"/>
                          </a:cubicBezTo>
                          <a:cubicBezTo>
                            <a:pt x="71" y="233"/>
                            <a:pt x="75" y="231"/>
                            <a:pt x="77" y="231"/>
                          </a:cubicBezTo>
                          <a:cubicBezTo>
                            <a:pt x="79" y="231"/>
                            <a:pt x="81" y="231"/>
                            <a:pt x="83" y="230"/>
                          </a:cubicBezTo>
                          <a:cubicBezTo>
                            <a:pt x="85" y="228"/>
                            <a:pt x="89" y="224"/>
                            <a:pt x="90" y="223"/>
                          </a:cubicBezTo>
                          <a:cubicBezTo>
                            <a:pt x="91" y="221"/>
                            <a:pt x="94" y="219"/>
                            <a:pt x="94" y="218"/>
                          </a:cubicBezTo>
                          <a:cubicBezTo>
                            <a:pt x="93" y="216"/>
                            <a:pt x="92" y="214"/>
                            <a:pt x="93" y="214"/>
                          </a:cubicBezTo>
                          <a:cubicBezTo>
                            <a:pt x="94" y="213"/>
                            <a:pt x="98" y="212"/>
                            <a:pt x="98" y="211"/>
                          </a:cubicBezTo>
                          <a:cubicBezTo>
                            <a:pt x="99" y="210"/>
                            <a:pt x="98" y="206"/>
                            <a:pt x="98" y="205"/>
                          </a:cubicBezTo>
                          <a:cubicBezTo>
                            <a:pt x="98" y="204"/>
                            <a:pt x="99" y="202"/>
                            <a:pt x="100" y="200"/>
                          </a:cubicBezTo>
                          <a:cubicBezTo>
                            <a:pt x="101" y="198"/>
                            <a:pt x="104" y="196"/>
                            <a:pt x="105" y="195"/>
                          </a:cubicBezTo>
                          <a:cubicBezTo>
                            <a:pt x="105" y="195"/>
                            <a:pt x="108" y="192"/>
                            <a:pt x="108" y="190"/>
                          </a:cubicBezTo>
                          <a:cubicBezTo>
                            <a:pt x="109" y="187"/>
                            <a:pt x="108" y="184"/>
                            <a:pt x="109" y="183"/>
                          </a:cubicBezTo>
                          <a:cubicBezTo>
                            <a:pt x="109" y="182"/>
                            <a:pt x="109" y="181"/>
                            <a:pt x="108" y="179"/>
                          </a:cubicBezTo>
                          <a:cubicBezTo>
                            <a:pt x="107" y="178"/>
                            <a:pt x="107" y="174"/>
                            <a:pt x="107" y="174"/>
                          </a:cubicBezTo>
                          <a:cubicBezTo>
                            <a:pt x="106" y="173"/>
                            <a:pt x="107" y="168"/>
                            <a:pt x="108" y="168"/>
                          </a:cubicBezTo>
                          <a:cubicBezTo>
                            <a:pt x="109" y="167"/>
                            <a:pt x="111" y="163"/>
                            <a:pt x="112" y="162"/>
                          </a:cubicBezTo>
                          <a:cubicBezTo>
                            <a:pt x="113" y="160"/>
                            <a:pt x="116" y="154"/>
                            <a:pt x="117" y="154"/>
                          </a:cubicBezTo>
                          <a:cubicBezTo>
                            <a:pt x="119" y="153"/>
                            <a:pt x="121" y="150"/>
                            <a:pt x="121" y="149"/>
                          </a:cubicBezTo>
                          <a:cubicBezTo>
                            <a:pt x="121" y="147"/>
                            <a:pt x="125" y="140"/>
                            <a:pt x="125" y="139"/>
                          </a:cubicBezTo>
                          <a:cubicBezTo>
                            <a:pt x="125" y="138"/>
                            <a:pt x="126" y="133"/>
                            <a:pt x="126" y="132"/>
                          </a:cubicBezTo>
                          <a:cubicBezTo>
                            <a:pt x="125" y="131"/>
                            <a:pt x="121" y="134"/>
                            <a:pt x="120" y="134"/>
                          </a:cubicBezTo>
                          <a:cubicBezTo>
                            <a:pt x="119" y="134"/>
                            <a:pt x="118" y="136"/>
                            <a:pt x="116" y="136"/>
                          </a:cubicBezTo>
                          <a:cubicBezTo>
                            <a:pt x="114" y="136"/>
                            <a:pt x="115" y="133"/>
                            <a:pt x="114" y="132"/>
                          </a:cubicBezTo>
                          <a:cubicBezTo>
                            <a:pt x="114" y="131"/>
                            <a:pt x="112" y="127"/>
                            <a:pt x="112" y="126"/>
                          </a:cubicBezTo>
                          <a:cubicBezTo>
                            <a:pt x="111" y="126"/>
                            <a:pt x="110" y="124"/>
                            <a:pt x="109" y="122"/>
                          </a:cubicBezTo>
                          <a:cubicBezTo>
                            <a:pt x="108" y="119"/>
                            <a:pt x="106" y="118"/>
                            <a:pt x="104" y="116"/>
                          </a:cubicBezTo>
                          <a:cubicBezTo>
                            <a:pt x="103" y="114"/>
                            <a:pt x="105" y="109"/>
                            <a:pt x="103" y="106"/>
                          </a:cubicBezTo>
                          <a:cubicBezTo>
                            <a:pt x="102" y="103"/>
                            <a:pt x="101" y="100"/>
                            <a:pt x="100" y="97"/>
                          </a:cubicBezTo>
                          <a:cubicBezTo>
                            <a:pt x="100" y="97"/>
                            <a:pt x="100" y="96"/>
                            <a:pt x="99" y="95"/>
                          </a:cubicBezTo>
                          <a:cubicBezTo>
                            <a:pt x="101" y="95"/>
                            <a:pt x="103" y="94"/>
                            <a:pt x="103" y="95"/>
                          </a:cubicBezTo>
                          <a:cubicBezTo>
                            <a:pt x="103" y="97"/>
                            <a:pt x="105" y="100"/>
                            <a:pt x="105" y="102"/>
                          </a:cubicBezTo>
                          <a:cubicBezTo>
                            <a:pt x="105" y="104"/>
                            <a:pt x="107" y="103"/>
                            <a:pt x="107" y="105"/>
                          </a:cubicBezTo>
                          <a:cubicBezTo>
                            <a:pt x="107" y="107"/>
                            <a:pt x="108" y="112"/>
                            <a:pt x="109" y="112"/>
                          </a:cubicBezTo>
                          <a:cubicBezTo>
                            <a:pt x="109" y="113"/>
                            <a:pt x="112" y="116"/>
                            <a:pt x="112" y="117"/>
                          </a:cubicBezTo>
                          <a:cubicBezTo>
                            <a:pt x="113" y="118"/>
                            <a:pt x="113" y="120"/>
                            <a:pt x="113" y="123"/>
                          </a:cubicBezTo>
                          <a:cubicBezTo>
                            <a:pt x="114" y="126"/>
                            <a:pt x="114" y="129"/>
                            <a:pt x="115" y="130"/>
                          </a:cubicBezTo>
                          <a:cubicBezTo>
                            <a:pt x="116" y="131"/>
                            <a:pt x="120" y="129"/>
                            <a:pt x="120" y="128"/>
                          </a:cubicBezTo>
                          <a:cubicBezTo>
                            <a:pt x="121" y="128"/>
                            <a:pt x="125" y="125"/>
                            <a:pt x="126" y="125"/>
                          </a:cubicBezTo>
                          <a:cubicBezTo>
                            <a:pt x="127" y="124"/>
                            <a:pt x="127" y="123"/>
                            <a:pt x="129" y="122"/>
                          </a:cubicBezTo>
                          <a:cubicBezTo>
                            <a:pt x="131" y="122"/>
                            <a:pt x="132" y="120"/>
                            <a:pt x="133" y="118"/>
                          </a:cubicBezTo>
                          <a:cubicBezTo>
                            <a:pt x="134" y="117"/>
                            <a:pt x="135" y="113"/>
                            <a:pt x="136" y="112"/>
                          </a:cubicBezTo>
                          <a:cubicBezTo>
                            <a:pt x="136" y="111"/>
                            <a:pt x="137" y="110"/>
                            <a:pt x="136" y="108"/>
                          </a:cubicBezTo>
                          <a:cubicBezTo>
                            <a:pt x="136" y="107"/>
                            <a:pt x="134" y="105"/>
                            <a:pt x="133" y="105"/>
                          </a:cubicBezTo>
                          <a:cubicBezTo>
                            <a:pt x="132" y="104"/>
                            <a:pt x="132" y="102"/>
                            <a:pt x="132" y="102"/>
                          </a:cubicBezTo>
                          <a:cubicBezTo>
                            <a:pt x="131" y="102"/>
                            <a:pt x="131" y="103"/>
                            <a:pt x="130" y="104"/>
                          </a:cubicBezTo>
                          <a:cubicBezTo>
                            <a:pt x="129" y="105"/>
                            <a:pt x="128" y="107"/>
                            <a:pt x="127" y="106"/>
                          </a:cubicBezTo>
                          <a:cubicBezTo>
                            <a:pt x="127" y="106"/>
                            <a:pt x="128" y="105"/>
                            <a:pt x="126" y="103"/>
                          </a:cubicBezTo>
                          <a:cubicBezTo>
                            <a:pt x="125" y="102"/>
                            <a:pt x="125" y="101"/>
                            <a:pt x="125" y="100"/>
                          </a:cubicBezTo>
                          <a:cubicBezTo>
                            <a:pt x="125" y="99"/>
                            <a:pt x="122" y="96"/>
                            <a:pt x="122" y="94"/>
                          </a:cubicBezTo>
                          <a:cubicBezTo>
                            <a:pt x="121" y="92"/>
                            <a:pt x="123" y="90"/>
                            <a:pt x="124" y="91"/>
                          </a:cubicBezTo>
                          <a:cubicBezTo>
                            <a:pt x="125" y="93"/>
                            <a:pt x="125" y="96"/>
                            <a:pt x="127" y="97"/>
                          </a:cubicBezTo>
                          <a:cubicBezTo>
                            <a:pt x="128" y="98"/>
                            <a:pt x="129" y="100"/>
                            <a:pt x="130" y="101"/>
                          </a:cubicBezTo>
                          <a:cubicBezTo>
                            <a:pt x="131" y="101"/>
                            <a:pt x="132" y="99"/>
                            <a:pt x="133" y="99"/>
                          </a:cubicBezTo>
                          <a:cubicBezTo>
                            <a:pt x="133" y="99"/>
                            <a:pt x="134" y="103"/>
                            <a:pt x="135" y="103"/>
                          </a:cubicBezTo>
                          <a:cubicBezTo>
                            <a:pt x="136" y="104"/>
                            <a:pt x="139" y="104"/>
                            <a:pt x="139" y="104"/>
                          </a:cubicBezTo>
                          <a:cubicBezTo>
                            <a:pt x="140" y="104"/>
                            <a:pt x="142" y="105"/>
                            <a:pt x="142" y="104"/>
                          </a:cubicBezTo>
                          <a:cubicBezTo>
                            <a:pt x="142" y="103"/>
                            <a:pt x="146" y="101"/>
                            <a:pt x="146" y="101"/>
                          </a:cubicBezTo>
                          <a:cubicBezTo>
                            <a:pt x="146" y="101"/>
                            <a:pt x="146" y="100"/>
                            <a:pt x="146" y="98"/>
                          </a:cubicBezTo>
                          <a:cubicBezTo>
                            <a:pt x="140" y="67"/>
                            <a:pt x="124" y="39"/>
                            <a:pt x="103" y="18"/>
                          </a:cubicBezTo>
                          <a:cubicBezTo>
                            <a:pt x="102" y="18"/>
                            <a:pt x="102" y="18"/>
                            <a:pt x="101" y="17"/>
                          </a:cubicBezTo>
                          <a:cubicBezTo>
                            <a:pt x="99" y="16"/>
                            <a:pt x="99" y="16"/>
                            <a:pt x="99" y="17"/>
                          </a:cubicBezTo>
                          <a:cubicBezTo>
                            <a:pt x="98" y="17"/>
                            <a:pt x="97" y="18"/>
                            <a:pt x="96" y="17"/>
                          </a:cubicBezTo>
                          <a:cubicBezTo>
                            <a:pt x="96" y="15"/>
                            <a:pt x="96" y="15"/>
                            <a:pt x="95" y="14"/>
                          </a:cubicBezTo>
                          <a:cubicBezTo>
                            <a:pt x="94" y="13"/>
                            <a:pt x="95" y="13"/>
                            <a:pt x="96" y="13"/>
                          </a:cubicBezTo>
                          <a:cubicBezTo>
                            <a:pt x="97" y="14"/>
                            <a:pt x="98" y="14"/>
                            <a:pt x="99" y="14"/>
                          </a:cubicBezTo>
                          <a:cubicBezTo>
                            <a:pt x="95" y="11"/>
                            <a:pt x="92" y="8"/>
                            <a:pt x="88" y="5"/>
                          </a:cubicBezTo>
                          <a:cubicBezTo>
                            <a:pt x="88" y="5"/>
                            <a:pt x="88" y="5"/>
                            <a:pt x="88" y="5"/>
                          </a:cubicBezTo>
                          <a:cubicBezTo>
                            <a:pt x="86" y="5"/>
                            <a:pt x="78" y="0"/>
                            <a:pt x="74" y="1"/>
                          </a:cubicBezTo>
                          <a:close/>
                          <a:moveTo>
                            <a:pt x="99" y="159"/>
                          </a:moveTo>
                          <a:cubicBezTo>
                            <a:pt x="100" y="160"/>
                            <a:pt x="98" y="165"/>
                            <a:pt x="96" y="165"/>
                          </a:cubicBezTo>
                          <a:cubicBezTo>
                            <a:pt x="95" y="165"/>
                            <a:pt x="96" y="160"/>
                            <a:pt x="96" y="159"/>
                          </a:cubicBezTo>
                          <a:cubicBezTo>
                            <a:pt x="97" y="158"/>
                            <a:pt x="99" y="158"/>
                            <a:pt x="99" y="159"/>
                          </a:cubicBezTo>
                          <a:close/>
                          <a:moveTo>
                            <a:pt x="118" y="56"/>
                          </a:moveTo>
                          <a:cubicBezTo>
                            <a:pt x="119" y="55"/>
                            <a:pt x="121" y="57"/>
                            <a:pt x="122" y="56"/>
                          </a:cubicBezTo>
                          <a:cubicBezTo>
                            <a:pt x="123" y="56"/>
                            <a:pt x="124" y="55"/>
                            <a:pt x="124" y="54"/>
                          </a:cubicBezTo>
                          <a:cubicBezTo>
                            <a:pt x="125" y="54"/>
                            <a:pt x="127" y="55"/>
                            <a:pt x="127" y="56"/>
                          </a:cubicBezTo>
                          <a:cubicBezTo>
                            <a:pt x="128" y="57"/>
                            <a:pt x="129" y="59"/>
                            <a:pt x="129" y="60"/>
                          </a:cubicBezTo>
                          <a:cubicBezTo>
                            <a:pt x="128" y="60"/>
                            <a:pt x="126" y="60"/>
                            <a:pt x="126" y="59"/>
                          </a:cubicBezTo>
                          <a:cubicBezTo>
                            <a:pt x="125" y="58"/>
                            <a:pt x="123" y="59"/>
                            <a:pt x="123" y="61"/>
                          </a:cubicBezTo>
                          <a:cubicBezTo>
                            <a:pt x="123" y="63"/>
                            <a:pt x="124" y="62"/>
                            <a:pt x="124" y="62"/>
                          </a:cubicBezTo>
                          <a:cubicBezTo>
                            <a:pt x="125" y="63"/>
                            <a:pt x="125" y="64"/>
                            <a:pt x="126" y="66"/>
                          </a:cubicBezTo>
                          <a:cubicBezTo>
                            <a:pt x="126" y="67"/>
                            <a:pt x="127" y="66"/>
                            <a:pt x="128" y="67"/>
                          </a:cubicBezTo>
                          <a:cubicBezTo>
                            <a:pt x="128" y="68"/>
                            <a:pt x="126" y="69"/>
                            <a:pt x="127" y="70"/>
                          </a:cubicBezTo>
                          <a:cubicBezTo>
                            <a:pt x="128" y="72"/>
                            <a:pt x="129" y="76"/>
                            <a:pt x="129" y="77"/>
                          </a:cubicBezTo>
                          <a:cubicBezTo>
                            <a:pt x="129" y="78"/>
                            <a:pt x="127" y="78"/>
                            <a:pt x="126" y="78"/>
                          </a:cubicBezTo>
                          <a:cubicBezTo>
                            <a:pt x="125" y="78"/>
                            <a:pt x="122" y="76"/>
                            <a:pt x="122" y="76"/>
                          </a:cubicBezTo>
                          <a:cubicBezTo>
                            <a:pt x="121" y="75"/>
                            <a:pt x="120" y="71"/>
                            <a:pt x="121" y="71"/>
                          </a:cubicBezTo>
                          <a:cubicBezTo>
                            <a:pt x="122" y="71"/>
                            <a:pt x="122" y="71"/>
                            <a:pt x="124" y="69"/>
                          </a:cubicBezTo>
                          <a:cubicBezTo>
                            <a:pt x="125" y="68"/>
                            <a:pt x="122" y="67"/>
                            <a:pt x="121" y="66"/>
                          </a:cubicBezTo>
                          <a:cubicBezTo>
                            <a:pt x="120" y="66"/>
                            <a:pt x="118" y="62"/>
                            <a:pt x="117" y="60"/>
                          </a:cubicBezTo>
                          <a:cubicBezTo>
                            <a:pt x="117" y="59"/>
                            <a:pt x="117" y="57"/>
                            <a:pt x="118" y="56"/>
                          </a:cubicBezTo>
                          <a:close/>
                          <a:moveTo>
                            <a:pt x="94" y="25"/>
                          </a:moveTo>
                          <a:cubicBezTo>
                            <a:pt x="93" y="26"/>
                            <a:pt x="89" y="24"/>
                            <a:pt x="89" y="23"/>
                          </a:cubicBezTo>
                          <a:cubicBezTo>
                            <a:pt x="90" y="20"/>
                            <a:pt x="94" y="24"/>
                            <a:pt x="94" y="25"/>
                          </a:cubicBezTo>
                          <a:close/>
                          <a:moveTo>
                            <a:pt x="91" y="54"/>
                          </a:moveTo>
                          <a:cubicBezTo>
                            <a:pt x="92" y="53"/>
                            <a:pt x="93" y="53"/>
                            <a:pt x="94" y="53"/>
                          </a:cubicBezTo>
                          <a:cubicBezTo>
                            <a:pt x="95" y="53"/>
                            <a:pt x="97" y="57"/>
                            <a:pt x="97" y="58"/>
                          </a:cubicBezTo>
                          <a:cubicBezTo>
                            <a:pt x="98" y="59"/>
                            <a:pt x="99" y="57"/>
                            <a:pt x="99" y="57"/>
                          </a:cubicBezTo>
                          <a:cubicBezTo>
                            <a:pt x="100" y="57"/>
                            <a:pt x="101" y="56"/>
                            <a:pt x="101" y="55"/>
                          </a:cubicBezTo>
                          <a:cubicBezTo>
                            <a:pt x="101" y="54"/>
                            <a:pt x="102" y="54"/>
                            <a:pt x="103" y="54"/>
                          </a:cubicBezTo>
                          <a:cubicBezTo>
                            <a:pt x="105" y="54"/>
                            <a:pt x="104" y="55"/>
                            <a:pt x="103" y="55"/>
                          </a:cubicBezTo>
                          <a:cubicBezTo>
                            <a:pt x="102" y="56"/>
                            <a:pt x="102" y="57"/>
                            <a:pt x="104" y="57"/>
                          </a:cubicBezTo>
                          <a:cubicBezTo>
                            <a:pt x="106" y="58"/>
                            <a:pt x="107" y="60"/>
                            <a:pt x="109" y="62"/>
                          </a:cubicBezTo>
                          <a:cubicBezTo>
                            <a:pt x="111" y="63"/>
                            <a:pt x="111" y="66"/>
                            <a:pt x="110" y="66"/>
                          </a:cubicBezTo>
                          <a:cubicBezTo>
                            <a:pt x="109" y="67"/>
                            <a:pt x="106" y="67"/>
                            <a:pt x="105" y="66"/>
                          </a:cubicBezTo>
                          <a:cubicBezTo>
                            <a:pt x="104" y="66"/>
                            <a:pt x="102" y="64"/>
                            <a:pt x="100" y="64"/>
                          </a:cubicBezTo>
                          <a:cubicBezTo>
                            <a:pt x="98" y="63"/>
                            <a:pt x="96" y="63"/>
                            <a:pt x="95" y="64"/>
                          </a:cubicBezTo>
                          <a:cubicBezTo>
                            <a:pt x="95" y="66"/>
                            <a:pt x="92" y="65"/>
                            <a:pt x="91" y="65"/>
                          </a:cubicBezTo>
                          <a:cubicBezTo>
                            <a:pt x="90" y="65"/>
                            <a:pt x="89" y="67"/>
                            <a:pt x="88" y="66"/>
                          </a:cubicBezTo>
                          <a:cubicBezTo>
                            <a:pt x="88" y="66"/>
                            <a:pt x="89" y="62"/>
                            <a:pt x="88" y="62"/>
                          </a:cubicBezTo>
                          <a:cubicBezTo>
                            <a:pt x="87" y="62"/>
                            <a:pt x="88" y="59"/>
                            <a:pt x="89" y="59"/>
                          </a:cubicBezTo>
                          <a:cubicBezTo>
                            <a:pt x="90" y="58"/>
                            <a:pt x="91" y="56"/>
                            <a:pt x="91"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30" name="îṩ1idê"/>
                    <p:cNvSpPr/>
                    <p:nvPr/>
                  </p:nvSpPr>
                  <p:spPr bwMode="auto">
                    <a:xfrm>
                      <a:off x="6604624" y="4184858"/>
                      <a:ext cx="22901" cy="30535"/>
                    </a:xfrm>
                    <a:custGeom>
                      <a:avLst/>
                      <a:gdLst>
                        <a:gd name="T0" fmla="*/ 1 w 3"/>
                        <a:gd name="T1" fmla="*/ 4 h 4"/>
                        <a:gd name="T2" fmla="*/ 3 w 3"/>
                        <a:gd name="T3" fmla="*/ 4 h 4"/>
                        <a:gd name="T4" fmla="*/ 1 w 3"/>
                        <a:gd name="T5" fmla="*/ 2 h 4"/>
                        <a:gd name="T6" fmla="*/ 0 w 3"/>
                        <a:gd name="T7" fmla="*/ 0 h 4"/>
                        <a:gd name="T8" fmla="*/ 0 w 3"/>
                        <a:gd name="T9" fmla="*/ 0 h 4"/>
                        <a:gd name="T10" fmla="*/ 0 w 3"/>
                        <a:gd name="T11" fmla="*/ 1 h 4"/>
                        <a:gd name="T12" fmla="*/ 1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4"/>
                          </a:moveTo>
                          <a:cubicBezTo>
                            <a:pt x="1" y="4"/>
                            <a:pt x="1" y="4"/>
                            <a:pt x="3" y="4"/>
                          </a:cubicBezTo>
                          <a:cubicBezTo>
                            <a:pt x="2" y="4"/>
                            <a:pt x="1" y="2"/>
                            <a:pt x="1" y="2"/>
                          </a:cubicBezTo>
                          <a:cubicBezTo>
                            <a:pt x="1" y="2"/>
                            <a:pt x="1" y="0"/>
                            <a:pt x="0" y="0"/>
                          </a:cubicBezTo>
                          <a:cubicBezTo>
                            <a:pt x="0" y="0"/>
                            <a:pt x="0" y="0"/>
                            <a:pt x="0" y="0"/>
                          </a:cubicBezTo>
                          <a:cubicBezTo>
                            <a:pt x="0" y="1"/>
                            <a:pt x="0" y="1"/>
                            <a:pt x="0" y="1"/>
                          </a:cubicBezTo>
                          <a:cubicBezTo>
                            <a:pt x="1" y="2"/>
                            <a:pt x="1" y="3"/>
                            <a:pt x="1"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31" name="ïṡḷîdè"/>
                    <p:cNvSpPr>
                      <a:spLocks noChangeAspect="1"/>
                    </p:cNvSpPr>
                    <p:nvPr/>
                  </p:nvSpPr>
                  <p:spPr>
                    <a:xfrm>
                      <a:off x="4359424" y="4920678"/>
                      <a:ext cx="152400" cy="152400"/>
                    </a:xfrm>
                    <a:prstGeom prst="ellipse">
                      <a:avLst/>
                    </a:prstGeom>
                    <a:solidFill>
                      <a:srgbClr val="4F81BD">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sp>
                  <p:nvSpPr>
                    <p:cNvPr id="232" name="íŝlïdè"/>
                    <p:cNvSpPr>
                      <a:spLocks noChangeAspect="1"/>
                    </p:cNvSpPr>
                    <p:nvPr/>
                  </p:nvSpPr>
                  <p:spPr>
                    <a:xfrm>
                      <a:off x="4875327" y="3692215"/>
                      <a:ext cx="152400" cy="152400"/>
                    </a:xfrm>
                    <a:prstGeom prst="ellipse">
                      <a:avLst/>
                    </a:prstGeom>
                    <a:solidFill>
                      <a:srgbClr val="C0504D">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sp>
                  <p:nvSpPr>
                    <p:cNvPr id="233" name="i$ḻîḍé"/>
                    <p:cNvSpPr>
                      <a:spLocks noChangeAspect="1"/>
                    </p:cNvSpPr>
                    <p:nvPr/>
                  </p:nvSpPr>
                  <p:spPr>
                    <a:xfrm>
                      <a:off x="7183969" y="3692215"/>
                      <a:ext cx="152400" cy="152400"/>
                    </a:xfrm>
                    <a:prstGeom prst="ellipse">
                      <a:avLst/>
                    </a:prstGeom>
                    <a:solidFill>
                      <a:srgbClr val="8064A2">
                        <a:lumMod val="100000"/>
                      </a:srgbClr>
                    </a:solidFill>
                    <a:ln w="9525" cap="flat" cmpd="sng" algn="ctr">
                      <a:no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grpSp>
            </p:grpSp>
            <p:sp>
              <p:nvSpPr>
                <p:cNvPr id="153" name="îs1íḋè"/>
                <p:cNvSpPr>
                  <a:spLocks noChangeAspect="1"/>
                </p:cNvSpPr>
                <p:nvPr/>
              </p:nvSpPr>
              <p:spPr>
                <a:xfrm>
                  <a:off x="7680176" y="4920678"/>
                  <a:ext cx="152400" cy="152400"/>
                </a:xfrm>
                <a:prstGeom prst="ellipse">
                  <a:avLst/>
                </a:prstGeom>
                <a:solidFill>
                  <a:srgbClr val="4BACC6">
                    <a:lumMod val="100000"/>
                  </a:srgbClr>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6">
                          <a:lumMod val="100000"/>
                        </a:schemeClr>
                      </a:solidFill>
                      <a:prstDash val="solid"/>
                      <a:miter lim="800000"/>
                      <a:headEnd type="none" w="med" len="med"/>
                      <a:tailEnd type="none" w="med" len="me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white"/>
                    </a:solidFill>
                    <a:effectLst/>
                    <a:uLnTx/>
                    <a:uFillTx/>
                    <a:latin typeface="Arial"/>
                    <a:ea typeface="微软雅黑"/>
                    <a:cs typeface="+mn-cs"/>
                  </a:endParaRPr>
                </a:p>
              </p:txBody>
            </p:sp>
            <p:sp>
              <p:nvSpPr>
                <p:cNvPr id="154" name="ïŝḷîďé"/>
                <p:cNvSpPr/>
                <p:nvPr/>
              </p:nvSpPr>
              <p:spPr bwMode="auto">
                <a:xfrm>
                  <a:off x="8068871" y="4490469"/>
                  <a:ext cx="969171" cy="968376"/>
                </a:xfrm>
                <a:prstGeom prst="ellipse">
                  <a:avLst/>
                </a:prstGeom>
                <a:solidFill>
                  <a:srgbClr val="4BACC6">
                    <a:lumMod val="100000"/>
                  </a:srgbClr>
                </a:solidFill>
                <a:ln w="12700" cap="flat" cmpd="sng" algn="ctr">
                  <a:noFill/>
                  <a:prstDash val="solid"/>
                  <a:round/>
                  <a:headEnd type="none" w="med" len="med"/>
                  <a:tailEnd type="none" w="med" len="med"/>
                </a:ln>
                <a:extLst>
                  <a:ext uri="{91240B29-F687-4F45-9708-019B960494DF}">
                    <a14:hiddenLine xmlns:a14="http://schemas.microsoft.com/office/drawing/2010/main" w="12700">
                      <a:solidFill>
                        <a:schemeClr val="accent5">
                          <a:lumMod val="100000"/>
                        </a:schemeClr>
                      </a:solidFill>
                      <a:prstDash val="solid"/>
                      <a:round/>
                      <a:headEnd type="none" w="med" len="med"/>
                      <a:tailEnd type="none" w="med" len="me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55" name="îş1ïḑê"/>
                <p:cNvGrpSpPr/>
                <p:nvPr/>
              </p:nvGrpSpPr>
              <p:grpSpPr>
                <a:xfrm>
                  <a:off x="8208456" y="4777571"/>
                  <a:ext cx="693170" cy="394171"/>
                  <a:chOff x="279400" y="-1397000"/>
                  <a:chExt cx="1387475" cy="788988"/>
                </a:xfrm>
              </p:grpSpPr>
              <p:sp>
                <p:nvSpPr>
                  <p:cNvPr id="199" name="ïŝ1ïḍe"/>
                  <p:cNvSpPr/>
                  <p:nvPr/>
                </p:nvSpPr>
                <p:spPr bwMode="auto">
                  <a:xfrm>
                    <a:off x="584200" y="-1397000"/>
                    <a:ext cx="1082675" cy="788988"/>
                  </a:xfrm>
                  <a:custGeom>
                    <a:avLst/>
                    <a:gdLst>
                      <a:gd name="T0" fmla="*/ 192 w 198"/>
                      <a:gd name="T1" fmla="*/ 72 h 144"/>
                      <a:gd name="T2" fmla="*/ 184 w 198"/>
                      <a:gd name="T3" fmla="*/ 72 h 144"/>
                      <a:gd name="T4" fmla="*/ 172 w 198"/>
                      <a:gd name="T5" fmla="*/ 43 h 144"/>
                      <a:gd name="T6" fmla="*/ 157 w 198"/>
                      <a:gd name="T7" fmla="*/ 32 h 144"/>
                      <a:gd name="T8" fmla="*/ 126 w 198"/>
                      <a:gd name="T9" fmla="*/ 32 h 144"/>
                      <a:gd name="T10" fmla="*/ 126 w 198"/>
                      <a:gd name="T11" fmla="*/ 2 h 144"/>
                      <a:gd name="T12" fmla="*/ 124 w 198"/>
                      <a:gd name="T13" fmla="*/ 0 h 144"/>
                      <a:gd name="T14" fmla="*/ 2 w 198"/>
                      <a:gd name="T15" fmla="*/ 0 h 144"/>
                      <a:gd name="T16" fmla="*/ 0 w 198"/>
                      <a:gd name="T17" fmla="*/ 2 h 144"/>
                      <a:gd name="T18" fmla="*/ 0 w 198"/>
                      <a:gd name="T19" fmla="*/ 123 h 144"/>
                      <a:gd name="T20" fmla="*/ 2 w 198"/>
                      <a:gd name="T21" fmla="*/ 125 h 144"/>
                      <a:gd name="T22" fmla="*/ 19 w 198"/>
                      <a:gd name="T23" fmla="*/ 125 h 144"/>
                      <a:gd name="T24" fmla="*/ 40 w 198"/>
                      <a:gd name="T25" fmla="*/ 144 h 144"/>
                      <a:gd name="T26" fmla="*/ 61 w 198"/>
                      <a:gd name="T27" fmla="*/ 125 h 144"/>
                      <a:gd name="T28" fmla="*/ 138 w 198"/>
                      <a:gd name="T29" fmla="*/ 125 h 144"/>
                      <a:gd name="T30" fmla="*/ 159 w 198"/>
                      <a:gd name="T31" fmla="*/ 144 h 144"/>
                      <a:gd name="T32" fmla="*/ 180 w 198"/>
                      <a:gd name="T33" fmla="*/ 125 h 144"/>
                      <a:gd name="T34" fmla="*/ 192 w 198"/>
                      <a:gd name="T35" fmla="*/ 125 h 144"/>
                      <a:gd name="T36" fmla="*/ 198 w 198"/>
                      <a:gd name="T37" fmla="*/ 119 h 144"/>
                      <a:gd name="T38" fmla="*/ 198 w 198"/>
                      <a:gd name="T39" fmla="*/ 78 h 144"/>
                      <a:gd name="T40" fmla="*/ 192 w 198"/>
                      <a:gd name="T41" fmla="*/ 72 h 144"/>
                      <a:gd name="T42" fmla="*/ 157 w 198"/>
                      <a:gd name="T43" fmla="*/ 36 h 144"/>
                      <a:gd name="T44" fmla="*/ 168 w 198"/>
                      <a:gd name="T45" fmla="*/ 45 h 144"/>
                      <a:gd name="T46" fmla="*/ 179 w 198"/>
                      <a:gd name="T47" fmla="*/ 72 h 144"/>
                      <a:gd name="T48" fmla="*/ 126 w 198"/>
                      <a:gd name="T49" fmla="*/ 72 h 144"/>
                      <a:gd name="T50" fmla="*/ 126 w 198"/>
                      <a:gd name="T51" fmla="*/ 36 h 144"/>
                      <a:gd name="T52" fmla="*/ 157 w 198"/>
                      <a:gd name="T53" fmla="*/ 36 h 144"/>
                      <a:gd name="T54" fmla="*/ 5 w 198"/>
                      <a:gd name="T55" fmla="*/ 5 h 144"/>
                      <a:gd name="T56" fmla="*/ 121 w 198"/>
                      <a:gd name="T57" fmla="*/ 5 h 144"/>
                      <a:gd name="T58" fmla="*/ 121 w 198"/>
                      <a:gd name="T59" fmla="*/ 120 h 144"/>
                      <a:gd name="T60" fmla="*/ 61 w 198"/>
                      <a:gd name="T61" fmla="*/ 120 h 144"/>
                      <a:gd name="T62" fmla="*/ 40 w 198"/>
                      <a:gd name="T63" fmla="*/ 102 h 144"/>
                      <a:gd name="T64" fmla="*/ 19 w 198"/>
                      <a:gd name="T65" fmla="*/ 120 h 144"/>
                      <a:gd name="T66" fmla="*/ 5 w 198"/>
                      <a:gd name="T67" fmla="*/ 120 h 144"/>
                      <a:gd name="T68" fmla="*/ 5 w 198"/>
                      <a:gd name="T69" fmla="*/ 5 h 144"/>
                      <a:gd name="T70" fmla="*/ 40 w 198"/>
                      <a:gd name="T71" fmla="*/ 139 h 144"/>
                      <a:gd name="T72" fmla="*/ 23 w 198"/>
                      <a:gd name="T73" fmla="*/ 123 h 144"/>
                      <a:gd name="T74" fmla="*/ 40 w 198"/>
                      <a:gd name="T75" fmla="*/ 106 h 144"/>
                      <a:gd name="T76" fmla="*/ 56 w 198"/>
                      <a:gd name="T77" fmla="*/ 123 h 144"/>
                      <a:gd name="T78" fmla="*/ 40 w 198"/>
                      <a:gd name="T79" fmla="*/ 139 h 144"/>
                      <a:gd name="T80" fmla="*/ 159 w 198"/>
                      <a:gd name="T81" fmla="*/ 139 h 144"/>
                      <a:gd name="T82" fmla="*/ 143 w 198"/>
                      <a:gd name="T83" fmla="*/ 123 h 144"/>
                      <a:gd name="T84" fmla="*/ 159 w 198"/>
                      <a:gd name="T85" fmla="*/ 106 h 144"/>
                      <a:gd name="T86" fmla="*/ 175 w 198"/>
                      <a:gd name="T87" fmla="*/ 122 h 144"/>
                      <a:gd name="T88" fmla="*/ 175 w 198"/>
                      <a:gd name="T89" fmla="*/ 123 h 144"/>
                      <a:gd name="T90" fmla="*/ 175 w 198"/>
                      <a:gd name="T91" fmla="*/ 123 h 144"/>
                      <a:gd name="T92" fmla="*/ 159 w 198"/>
                      <a:gd name="T93" fmla="*/ 139 h 144"/>
                      <a:gd name="T94" fmla="*/ 193 w 198"/>
                      <a:gd name="T95" fmla="*/ 119 h 144"/>
                      <a:gd name="T96" fmla="*/ 192 w 198"/>
                      <a:gd name="T97" fmla="*/ 120 h 144"/>
                      <a:gd name="T98" fmla="*/ 180 w 198"/>
                      <a:gd name="T99" fmla="*/ 120 h 144"/>
                      <a:gd name="T100" fmla="*/ 159 w 198"/>
                      <a:gd name="T101" fmla="*/ 102 h 144"/>
                      <a:gd name="T102" fmla="*/ 138 w 198"/>
                      <a:gd name="T103" fmla="*/ 120 h 144"/>
                      <a:gd name="T104" fmla="*/ 126 w 198"/>
                      <a:gd name="T105" fmla="*/ 120 h 144"/>
                      <a:gd name="T106" fmla="*/ 126 w 198"/>
                      <a:gd name="T107" fmla="*/ 77 h 144"/>
                      <a:gd name="T108" fmla="*/ 192 w 198"/>
                      <a:gd name="T109" fmla="*/ 77 h 144"/>
                      <a:gd name="T110" fmla="*/ 193 w 198"/>
                      <a:gd name="T111" fmla="*/ 78 h 144"/>
                      <a:gd name="T112" fmla="*/ 193 w 198"/>
                      <a:gd name="T113" fmla="*/ 11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44">
                        <a:moveTo>
                          <a:pt x="192" y="72"/>
                        </a:moveTo>
                        <a:cubicBezTo>
                          <a:pt x="184" y="72"/>
                          <a:pt x="184" y="72"/>
                          <a:pt x="184" y="72"/>
                        </a:cubicBezTo>
                        <a:cubicBezTo>
                          <a:pt x="181" y="65"/>
                          <a:pt x="172" y="43"/>
                          <a:pt x="172" y="43"/>
                        </a:cubicBezTo>
                        <a:cubicBezTo>
                          <a:pt x="170" y="37"/>
                          <a:pt x="163" y="32"/>
                          <a:pt x="157" y="32"/>
                        </a:cubicBezTo>
                        <a:cubicBezTo>
                          <a:pt x="126" y="32"/>
                          <a:pt x="126" y="32"/>
                          <a:pt x="126" y="32"/>
                        </a:cubicBezTo>
                        <a:cubicBezTo>
                          <a:pt x="126" y="2"/>
                          <a:pt x="126" y="2"/>
                          <a:pt x="126" y="2"/>
                        </a:cubicBezTo>
                        <a:cubicBezTo>
                          <a:pt x="126" y="1"/>
                          <a:pt x="125" y="0"/>
                          <a:pt x="124" y="0"/>
                        </a:cubicBezTo>
                        <a:cubicBezTo>
                          <a:pt x="2" y="0"/>
                          <a:pt x="2" y="0"/>
                          <a:pt x="2" y="0"/>
                        </a:cubicBezTo>
                        <a:cubicBezTo>
                          <a:pt x="1" y="0"/>
                          <a:pt x="0" y="1"/>
                          <a:pt x="0" y="2"/>
                        </a:cubicBezTo>
                        <a:cubicBezTo>
                          <a:pt x="0" y="123"/>
                          <a:pt x="0" y="123"/>
                          <a:pt x="0" y="123"/>
                        </a:cubicBezTo>
                        <a:cubicBezTo>
                          <a:pt x="0" y="124"/>
                          <a:pt x="1" y="125"/>
                          <a:pt x="2" y="125"/>
                        </a:cubicBezTo>
                        <a:cubicBezTo>
                          <a:pt x="19" y="125"/>
                          <a:pt x="19" y="125"/>
                          <a:pt x="19" y="125"/>
                        </a:cubicBezTo>
                        <a:cubicBezTo>
                          <a:pt x="20" y="135"/>
                          <a:pt x="29" y="144"/>
                          <a:pt x="40" y="144"/>
                        </a:cubicBezTo>
                        <a:cubicBezTo>
                          <a:pt x="51" y="144"/>
                          <a:pt x="59" y="135"/>
                          <a:pt x="61" y="125"/>
                        </a:cubicBezTo>
                        <a:cubicBezTo>
                          <a:pt x="138" y="125"/>
                          <a:pt x="138" y="125"/>
                          <a:pt x="138" y="125"/>
                        </a:cubicBezTo>
                        <a:cubicBezTo>
                          <a:pt x="139" y="135"/>
                          <a:pt x="148" y="144"/>
                          <a:pt x="159" y="144"/>
                        </a:cubicBezTo>
                        <a:cubicBezTo>
                          <a:pt x="170" y="144"/>
                          <a:pt x="179" y="135"/>
                          <a:pt x="180" y="125"/>
                        </a:cubicBezTo>
                        <a:cubicBezTo>
                          <a:pt x="192" y="125"/>
                          <a:pt x="192" y="125"/>
                          <a:pt x="192" y="125"/>
                        </a:cubicBezTo>
                        <a:cubicBezTo>
                          <a:pt x="195" y="125"/>
                          <a:pt x="198" y="122"/>
                          <a:pt x="198" y="119"/>
                        </a:cubicBezTo>
                        <a:cubicBezTo>
                          <a:pt x="198" y="78"/>
                          <a:pt x="198" y="78"/>
                          <a:pt x="198" y="78"/>
                        </a:cubicBezTo>
                        <a:cubicBezTo>
                          <a:pt x="198" y="75"/>
                          <a:pt x="195" y="72"/>
                          <a:pt x="192" y="72"/>
                        </a:cubicBezTo>
                        <a:close/>
                        <a:moveTo>
                          <a:pt x="157" y="36"/>
                        </a:moveTo>
                        <a:cubicBezTo>
                          <a:pt x="161" y="36"/>
                          <a:pt x="166" y="40"/>
                          <a:pt x="168" y="45"/>
                        </a:cubicBezTo>
                        <a:cubicBezTo>
                          <a:pt x="168" y="46"/>
                          <a:pt x="176" y="64"/>
                          <a:pt x="179" y="72"/>
                        </a:cubicBezTo>
                        <a:cubicBezTo>
                          <a:pt x="126" y="72"/>
                          <a:pt x="126" y="72"/>
                          <a:pt x="126" y="72"/>
                        </a:cubicBezTo>
                        <a:cubicBezTo>
                          <a:pt x="126" y="36"/>
                          <a:pt x="126" y="36"/>
                          <a:pt x="126" y="36"/>
                        </a:cubicBezTo>
                        <a:lnTo>
                          <a:pt x="157" y="36"/>
                        </a:lnTo>
                        <a:close/>
                        <a:moveTo>
                          <a:pt x="5" y="5"/>
                        </a:moveTo>
                        <a:cubicBezTo>
                          <a:pt x="121" y="5"/>
                          <a:pt x="121" y="5"/>
                          <a:pt x="121" y="5"/>
                        </a:cubicBezTo>
                        <a:cubicBezTo>
                          <a:pt x="121" y="120"/>
                          <a:pt x="121" y="120"/>
                          <a:pt x="121" y="120"/>
                        </a:cubicBezTo>
                        <a:cubicBezTo>
                          <a:pt x="61" y="120"/>
                          <a:pt x="61" y="120"/>
                          <a:pt x="61" y="120"/>
                        </a:cubicBezTo>
                        <a:cubicBezTo>
                          <a:pt x="59" y="110"/>
                          <a:pt x="51" y="102"/>
                          <a:pt x="40" y="102"/>
                        </a:cubicBezTo>
                        <a:cubicBezTo>
                          <a:pt x="29" y="102"/>
                          <a:pt x="20" y="110"/>
                          <a:pt x="19" y="120"/>
                        </a:cubicBezTo>
                        <a:cubicBezTo>
                          <a:pt x="5" y="120"/>
                          <a:pt x="5" y="120"/>
                          <a:pt x="5" y="120"/>
                        </a:cubicBezTo>
                        <a:lnTo>
                          <a:pt x="5" y="5"/>
                        </a:lnTo>
                        <a:close/>
                        <a:moveTo>
                          <a:pt x="40" y="139"/>
                        </a:moveTo>
                        <a:cubicBezTo>
                          <a:pt x="31" y="139"/>
                          <a:pt x="23" y="132"/>
                          <a:pt x="23" y="123"/>
                        </a:cubicBezTo>
                        <a:cubicBezTo>
                          <a:pt x="23" y="114"/>
                          <a:pt x="31" y="106"/>
                          <a:pt x="40" y="106"/>
                        </a:cubicBezTo>
                        <a:cubicBezTo>
                          <a:pt x="49" y="106"/>
                          <a:pt x="56" y="114"/>
                          <a:pt x="56" y="123"/>
                        </a:cubicBezTo>
                        <a:cubicBezTo>
                          <a:pt x="56" y="132"/>
                          <a:pt x="49" y="139"/>
                          <a:pt x="40" y="139"/>
                        </a:cubicBezTo>
                        <a:close/>
                        <a:moveTo>
                          <a:pt x="159" y="139"/>
                        </a:moveTo>
                        <a:cubicBezTo>
                          <a:pt x="150" y="139"/>
                          <a:pt x="143" y="132"/>
                          <a:pt x="143" y="123"/>
                        </a:cubicBezTo>
                        <a:cubicBezTo>
                          <a:pt x="143" y="114"/>
                          <a:pt x="150" y="106"/>
                          <a:pt x="159" y="106"/>
                        </a:cubicBezTo>
                        <a:cubicBezTo>
                          <a:pt x="168" y="106"/>
                          <a:pt x="175" y="113"/>
                          <a:pt x="175" y="122"/>
                        </a:cubicBezTo>
                        <a:cubicBezTo>
                          <a:pt x="175" y="122"/>
                          <a:pt x="175" y="122"/>
                          <a:pt x="175" y="123"/>
                        </a:cubicBezTo>
                        <a:cubicBezTo>
                          <a:pt x="175" y="123"/>
                          <a:pt x="175" y="123"/>
                          <a:pt x="175" y="123"/>
                        </a:cubicBezTo>
                        <a:cubicBezTo>
                          <a:pt x="175" y="132"/>
                          <a:pt x="168" y="139"/>
                          <a:pt x="159" y="139"/>
                        </a:cubicBezTo>
                        <a:close/>
                        <a:moveTo>
                          <a:pt x="193" y="119"/>
                        </a:moveTo>
                        <a:cubicBezTo>
                          <a:pt x="193" y="120"/>
                          <a:pt x="192" y="120"/>
                          <a:pt x="192" y="120"/>
                        </a:cubicBezTo>
                        <a:cubicBezTo>
                          <a:pt x="180" y="120"/>
                          <a:pt x="180" y="120"/>
                          <a:pt x="180" y="120"/>
                        </a:cubicBezTo>
                        <a:cubicBezTo>
                          <a:pt x="179" y="110"/>
                          <a:pt x="170" y="102"/>
                          <a:pt x="159" y="102"/>
                        </a:cubicBezTo>
                        <a:cubicBezTo>
                          <a:pt x="148" y="102"/>
                          <a:pt x="139" y="110"/>
                          <a:pt x="138" y="120"/>
                        </a:cubicBezTo>
                        <a:cubicBezTo>
                          <a:pt x="126" y="120"/>
                          <a:pt x="126" y="120"/>
                          <a:pt x="126" y="120"/>
                        </a:cubicBezTo>
                        <a:cubicBezTo>
                          <a:pt x="126" y="77"/>
                          <a:pt x="126" y="77"/>
                          <a:pt x="126" y="77"/>
                        </a:cubicBezTo>
                        <a:cubicBezTo>
                          <a:pt x="192" y="77"/>
                          <a:pt x="192" y="77"/>
                          <a:pt x="192" y="77"/>
                        </a:cubicBezTo>
                        <a:cubicBezTo>
                          <a:pt x="192" y="77"/>
                          <a:pt x="193" y="78"/>
                          <a:pt x="193" y="78"/>
                        </a:cubicBezTo>
                        <a:lnTo>
                          <a:pt x="193" y="11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0" name="íṥľïďe"/>
                  <p:cNvSpPr/>
                  <p:nvPr/>
                </p:nvSpPr>
                <p:spPr bwMode="auto">
                  <a:xfrm>
                    <a:off x="279400" y="-1397000"/>
                    <a:ext cx="239713" cy="28575"/>
                  </a:xfrm>
                  <a:custGeom>
                    <a:avLst/>
                    <a:gdLst>
                      <a:gd name="T0" fmla="*/ 42 w 44"/>
                      <a:gd name="T1" fmla="*/ 0 h 5"/>
                      <a:gd name="T2" fmla="*/ 2 w 44"/>
                      <a:gd name="T3" fmla="*/ 0 h 5"/>
                      <a:gd name="T4" fmla="*/ 0 w 44"/>
                      <a:gd name="T5" fmla="*/ 2 h 5"/>
                      <a:gd name="T6" fmla="*/ 2 w 44"/>
                      <a:gd name="T7" fmla="*/ 5 h 5"/>
                      <a:gd name="T8" fmla="*/ 42 w 44"/>
                      <a:gd name="T9" fmla="*/ 5 h 5"/>
                      <a:gd name="T10" fmla="*/ 44 w 44"/>
                      <a:gd name="T11" fmla="*/ 2 h 5"/>
                      <a:gd name="T12" fmla="*/ 42 w 4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4" h="5">
                        <a:moveTo>
                          <a:pt x="42" y="0"/>
                        </a:moveTo>
                        <a:cubicBezTo>
                          <a:pt x="2" y="0"/>
                          <a:pt x="2" y="0"/>
                          <a:pt x="2" y="0"/>
                        </a:cubicBezTo>
                        <a:cubicBezTo>
                          <a:pt x="1" y="0"/>
                          <a:pt x="0" y="1"/>
                          <a:pt x="0" y="2"/>
                        </a:cubicBezTo>
                        <a:cubicBezTo>
                          <a:pt x="0" y="4"/>
                          <a:pt x="1" y="5"/>
                          <a:pt x="2" y="5"/>
                        </a:cubicBezTo>
                        <a:cubicBezTo>
                          <a:pt x="42" y="5"/>
                          <a:pt x="42" y="5"/>
                          <a:pt x="42" y="5"/>
                        </a:cubicBezTo>
                        <a:cubicBezTo>
                          <a:pt x="43" y="5"/>
                          <a:pt x="44" y="4"/>
                          <a:pt x="44" y="2"/>
                        </a:cubicBezTo>
                        <a:cubicBezTo>
                          <a:pt x="44" y="1"/>
                          <a:pt x="43" y="0"/>
                          <a:pt x="42"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1" name="ï$ľíḋe"/>
                  <p:cNvSpPr/>
                  <p:nvPr/>
                </p:nvSpPr>
                <p:spPr bwMode="auto">
                  <a:xfrm>
                    <a:off x="328613" y="-1276350"/>
                    <a:ext cx="190500" cy="26988"/>
                  </a:xfrm>
                  <a:custGeom>
                    <a:avLst/>
                    <a:gdLst>
                      <a:gd name="T0" fmla="*/ 33 w 35"/>
                      <a:gd name="T1" fmla="*/ 0 h 5"/>
                      <a:gd name="T2" fmla="*/ 3 w 35"/>
                      <a:gd name="T3" fmla="*/ 0 h 5"/>
                      <a:gd name="T4" fmla="*/ 0 w 35"/>
                      <a:gd name="T5" fmla="*/ 2 h 5"/>
                      <a:gd name="T6" fmla="*/ 3 w 35"/>
                      <a:gd name="T7" fmla="*/ 5 h 5"/>
                      <a:gd name="T8" fmla="*/ 33 w 35"/>
                      <a:gd name="T9" fmla="*/ 5 h 5"/>
                      <a:gd name="T10" fmla="*/ 35 w 35"/>
                      <a:gd name="T11" fmla="*/ 2 h 5"/>
                      <a:gd name="T12" fmla="*/ 33 w 3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5" h="5">
                        <a:moveTo>
                          <a:pt x="33" y="0"/>
                        </a:moveTo>
                        <a:cubicBezTo>
                          <a:pt x="3" y="0"/>
                          <a:pt x="3" y="0"/>
                          <a:pt x="3" y="0"/>
                        </a:cubicBezTo>
                        <a:cubicBezTo>
                          <a:pt x="2" y="0"/>
                          <a:pt x="0" y="1"/>
                          <a:pt x="0" y="2"/>
                        </a:cubicBezTo>
                        <a:cubicBezTo>
                          <a:pt x="0" y="4"/>
                          <a:pt x="2" y="5"/>
                          <a:pt x="3" y="5"/>
                        </a:cubicBezTo>
                        <a:cubicBezTo>
                          <a:pt x="33" y="5"/>
                          <a:pt x="33" y="5"/>
                          <a:pt x="33" y="5"/>
                        </a:cubicBezTo>
                        <a:cubicBezTo>
                          <a:pt x="34" y="5"/>
                          <a:pt x="35" y="4"/>
                          <a:pt x="35" y="2"/>
                        </a:cubicBezTo>
                        <a:cubicBezTo>
                          <a:pt x="35" y="1"/>
                          <a:pt x="34" y="0"/>
                          <a:pt x="33"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202" name="ís1íḑê"/>
                  <p:cNvSpPr/>
                  <p:nvPr/>
                </p:nvSpPr>
                <p:spPr bwMode="auto">
                  <a:xfrm>
                    <a:off x="382588" y="-1155700"/>
                    <a:ext cx="136525" cy="26988"/>
                  </a:xfrm>
                  <a:custGeom>
                    <a:avLst/>
                    <a:gdLst>
                      <a:gd name="T0" fmla="*/ 23 w 25"/>
                      <a:gd name="T1" fmla="*/ 0 h 5"/>
                      <a:gd name="T2" fmla="*/ 3 w 25"/>
                      <a:gd name="T3" fmla="*/ 0 h 5"/>
                      <a:gd name="T4" fmla="*/ 0 w 25"/>
                      <a:gd name="T5" fmla="*/ 3 h 5"/>
                      <a:gd name="T6" fmla="*/ 3 w 25"/>
                      <a:gd name="T7" fmla="*/ 5 h 5"/>
                      <a:gd name="T8" fmla="*/ 23 w 25"/>
                      <a:gd name="T9" fmla="*/ 5 h 5"/>
                      <a:gd name="T10" fmla="*/ 25 w 25"/>
                      <a:gd name="T11" fmla="*/ 3 h 5"/>
                      <a:gd name="T12" fmla="*/ 23 w 2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5" h="5">
                        <a:moveTo>
                          <a:pt x="23" y="0"/>
                        </a:moveTo>
                        <a:cubicBezTo>
                          <a:pt x="3" y="0"/>
                          <a:pt x="3" y="0"/>
                          <a:pt x="3" y="0"/>
                        </a:cubicBezTo>
                        <a:cubicBezTo>
                          <a:pt x="2" y="0"/>
                          <a:pt x="0" y="1"/>
                          <a:pt x="0" y="3"/>
                        </a:cubicBezTo>
                        <a:cubicBezTo>
                          <a:pt x="0" y="4"/>
                          <a:pt x="2" y="5"/>
                          <a:pt x="3" y="5"/>
                        </a:cubicBezTo>
                        <a:cubicBezTo>
                          <a:pt x="23" y="5"/>
                          <a:pt x="23" y="5"/>
                          <a:pt x="23" y="5"/>
                        </a:cubicBezTo>
                        <a:cubicBezTo>
                          <a:pt x="24" y="5"/>
                          <a:pt x="25" y="4"/>
                          <a:pt x="25" y="3"/>
                        </a:cubicBezTo>
                        <a:cubicBezTo>
                          <a:pt x="25" y="1"/>
                          <a:pt x="24" y="0"/>
                          <a:pt x="23"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nvGrpSpPr>
                <p:cNvPr id="156" name="íṩlíḓe"/>
                <p:cNvGrpSpPr/>
                <p:nvPr/>
              </p:nvGrpSpPr>
              <p:grpSpPr>
                <a:xfrm>
                  <a:off x="7417211" y="2809237"/>
                  <a:ext cx="969171" cy="971549"/>
                  <a:chOff x="7204075" y="-1846263"/>
                  <a:chExt cx="1939925" cy="1944688"/>
                </a:xfrm>
              </p:grpSpPr>
              <p:sp>
                <p:nvSpPr>
                  <p:cNvPr id="192" name="ïṥ1íḑè"/>
                  <p:cNvSpPr/>
                  <p:nvPr/>
                </p:nvSpPr>
                <p:spPr bwMode="auto">
                  <a:xfrm>
                    <a:off x="7204075" y="-1846263"/>
                    <a:ext cx="1939925" cy="1944688"/>
                  </a:xfrm>
                  <a:prstGeom prst="ellipse">
                    <a:avLst/>
                  </a:prstGeom>
                  <a:solidFill>
                    <a:srgbClr val="8064A2">
                      <a:lumMod val="100000"/>
                    </a:srgbClr>
                  </a:soli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93" name="ïṩ1íḍê"/>
                  <p:cNvGrpSpPr/>
                  <p:nvPr/>
                </p:nvGrpSpPr>
                <p:grpSpPr>
                  <a:xfrm>
                    <a:off x="7519988" y="-1506538"/>
                    <a:ext cx="1312862" cy="1265238"/>
                    <a:chOff x="7519988" y="-1506538"/>
                    <a:chExt cx="1312862" cy="1265238"/>
                  </a:xfrm>
                </p:grpSpPr>
                <p:sp>
                  <p:nvSpPr>
                    <p:cNvPr id="194" name="ïŝḷîďè"/>
                    <p:cNvSpPr/>
                    <p:nvPr/>
                  </p:nvSpPr>
                  <p:spPr bwMode="auto">
                    <a:xfrm>
                      <a:off x="7519988" y="-1484313"/>
                      <a:ext cx="1176338" cy="1117600"/>
                    </a:xfrm>
                    <a:custGeom>
                      <a:avLst/>
                      <a:gdLst>
                        <a:gd name="T0" fmla="*/ 211 w 215"/>
                        <a:gd name="T1" fmla="*/ 164 h 204"/>
                        <a:gd name="T2" fmla="*/ 147 w 215"/>
                        <a:gd name="T3" fmla="*/ 199 h 204"/>
                        <a:gd name="T4" fmla="*/ 46 w 215"/>
                        <a:gd name="T5" fmla="*/ 10 h 204"/>
                        <a:gd name="T6" fmla="*/ 35 w 215"/>
                        <a:gd name="T7" fmla="*/ 1 h 204"/>
                        <a:gd name="T8" fmla="*/ 22 w 215"/>
                        <a:gd name="T9" fmla="*/ 3 h 204"/>
                        <a:gd name="T10" fmla="*/ 1 w 215"/>
                        <a:gd name="T11" fmla="*/ 14 h 204"/>
                        <a:gd name="T12" fmla="*/ 0 w 215"/>
                        <a:gd name="T13" fmla="*/ 17 h 204"/>
                        <a:gd name="T14" fmla="*/ 3 w 215"/>
                        <a:gd name="T15" fmla="*/ 18 h 204"/>
                        <a:gd name="T16" fmla="*/ 24 w 215"/>
                        <a:gd name="T17" fmla="*/ 7 h 204"/>
                        <a:gd name="T18" fmla="*/ 34 w 215"/>
                        <a:gd name="T19" fmla="*/ 6 h 204"/>
                        <a:gd name="T20" fmla="*/ 41 w 215"/>
                        <a:gd name="T21" fmla="*/ 12 h 204"/>
                        <a:gd name="T22" fmla="*/ 144 w 215"/>
                        <a:gd name="T23" fmla="*/ 203 h 204"/>
                        <a:gd name="T24" fmla="*/ 146 w 215"/>
                        <a:gd name="T25" fmla="*/ 204 h 204"/>
                        <a:gd name="T26" fmla="*/ 146 w 215"/>
                        <a:gd name="T27" fmla="*/ 204 h 204"/>
                        <a:gd name="T28" fmla="*/ 148 w 215"/>
                        <a:gd name="T29" fmla="*/ 204 h 204"/>
                        <a:gd name="T30" fmla="*/ 213 w 215"/>
                        <a:gd name="T31" fmla="*/ 168 h 204"/>
                        <a:gd name="T32" fmla="*/ 214 w 215"/>
                        <a:gd name="T33" fmla="*/ 165 h 204"/>
                        <a:gd name="T34" fmla="*/ 211 w 215"/>
                        <a:gd name="T35"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04">
                          <a:moveTo>
                            <a:pt x="211" y="164"/>
                          </a:moveTo>
                          <a:cubicBezTo>
                            <a:pt x="147" y="199"/>
                            <a:pt x="147" y="199"/>
                            <a:pt x="147" y="199"/>
                          </a:cubicBezTo>
                          <a:cubicBezTo>
                            <a:pt x="46" y="10"/>
                            <a:pt x="46" y="10"/>
                            <a:pt x="46" y="10"/>
                          </a:cubicBezTo>
                          <a:cubicBezTo>
                            <a:pt x="43" y="6"/>
                            <a:pt x="40" y="3"/>
                            <a:pt x="35" y="1"/>
                          </a:cubicBezTo>
                          <a:cubicBezTo>
                            <a:pt x="31" y="0"/>
                            <a:pt x="26" y="1"/>
                            <a:pt x="22" y="3"/>
                          </a:cubicBezTo>
                          <a:cubicBezTo>
                            <a:pt x="1" y="14"/>
                            <a:pt x="1" y="14"/>
                            <a:pt x="1" y="14"/>
                          </a:cubicBezTo>
                          <a:cubicBezTo>
                            <a:pt x="0" y="15"/>
                            <a:pt x="0" y="16"/>
                            <a:pt x="0" y="17"/>
                          </a:cubicBezTo>
                          <a:cubicBezTo>
                            <a:pt x="1" y="18"/>
                            <a:pt x="2" y="19"/>
                            <a:pt x="3" y="18"/>
                          </a:cubicBezTo>
                          <a:cubicBezTo>
                            <a:pt x="24" y="7"/>
                            <a:pt x="24" y="7"/>
                            <a:pt x="24" y="7"/>
                          </a:cubicBezTo>
                          <a:cubicBezTo>
                            <a:pt x="27" y="5"/>
                            <a:pt x="31" y="5"/>
                            <a:pt x="34" y="6"/>
                          </a:cubicBezTo>
                          <a:cubicBezTo>
                            <a:pt x="37" y="7"/>
                            <a:pt x="40" y="9"/>
                            <a:pt x="41" y="12"/>
                          </a:cubicBezTo>
                          <a:cubicBezTo>
                            <a:pt x="144" y="203"/>
                            <a:pt x="144" y="203"/>
                            <a:pt x="144" y="203"/>
                          </a:cubicBezTo>
                          <a:cubicBezTo>
                            <a:pt x="145" y="203"/>
                            <a:pt x="145" y="204"/>
                            <a:pt x="146" y="204"/>
                          </a:cubicBezTo>
                          <a:cubicBezTo>
                            <a:pt x="146" y="204"/>
                            <a:pt x="146" y="204"/>
                            <a:pt x="146" y="204"/>
                          </a:cubicBezTo>
                          <a:cubicBezTo>
                            <a:pt x="147" y="204"/>
                            <a:pt x="147" y="204"/>
                            <a:pt x="148" y="204"/>
                          </a:cubicBezTo>
                          <a:cubicBezTo>
                            <a:pt x="213" y="168"/>
                            <a:pt x="213" y="168"/>
                            <a:pt x="213" y="168"/>
                          </a:cubicBezTo>
                          <a:cubicBezTo>
                            <a:pt x="215" y="168"/>
                            <a:pt x="215" y="166"/>
                            <a:pt x="214" y="165"/>
                          </a:cubicBezTo>
                          <a:cubicBezTo>
                            <a:pt x="214" y="164"/>
                            <a:pt x="212" y="164"/>
                            <a:pt x="211" y="1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5" name="iṡḷîḋê"/>
                    <p:cNvSpPr/>
                    <p:nvPr/>
                  </p:nvSpPr>
                  <p:spPr bwMode="auto">
                    <a:xfrm>
                      <a:off x="8045450" y="-422275"/>
                      <a:ext cx="190500" cy="180975"/>
                    </a:xfrm>
                    <a:custGeom>
                      <a:avLst/>
                      <a:gdLst>
                        <a:gd name="T0" fmla="*/ 18 w 35"/>
                        <a:gd name="T1" fmla="*/ 0 h 33"/>
                        <a:gd name="T2" fmla="*/ 11 w 35"/>
                        <a:gd name="T3" fmla="*/ 2 h 33"/>
                        <a:gd name="T4" fmla="*/ 4 w 35"/>
                        <a:gd name="T5" fmla="*/ 24 h 33"/>
                        <a:gd name="T6" fmla="*/ 19 w 35"/>
                        <a:gd name="T7" fmla="*/ 33 h 33"/>
                        <a:gd name="T8" fmla="*/ 26 w 35"/>
                        <a:gd name="T9" fmla="*/ 31 h 33"/>
                        <a:gd name="T10" fmla="*/ 34 w 35"/>
                        <a:gd name="T11" fmla="*/ 21 h 33"/>
                        <a:gd name="T12" fmla="*/ 33 w 35"/>
                        <a:gd name="T13" fmla="*/ 9 h 33"/>
                        <a:gd name="T14" fmla="*/ 18 w 35"/>
                        <a:gd name="T15" fmla="*/ 0 h 33"/>
                        <a:gd name="T16" fmla="*/ 30 w 35"/>
                        <a:gd name="T17" fmla="*/ 20 h 33"/>
                        <a:gd name="T18" fmla="*/ 24 w 35"/>
                        <a:gd name="T19" fmla="*/ 27 h 33"/>
                        <a:gd name="T20" fmla="*/ 19 w 35"/>
                        <a:gd name="T21" fmla="*/ 28 h 33"/>
                        <a:gd name="T22" fmla="*/ 8 w 35"/>
                        <a:gd name="T23" fmla="*/ 22 h 33"/>
                        <a:gd name="T24" fmla="*/ 13 w 35"/>
                        <a:gd name="T25" fmla="*/ 6 h 33"/>
                        <a:gd name="T26" fmla="*/ 18 w 35"/>
                        <a:gd name="T27" fmla="*/ 5 h 33"/>
                        <a:gd name="T28" fmla="*/ 29 w 35"/>
                        <a:gd name="T29" fmla="*/ 11 h 33"/>
                        <a:gd name="T30" fmla="*/ 30 w 35"/>
                        <a:gd name="T3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33">
                          <a:moveTo>
                            <a:pt x="18" y="0"/>
                          </a:moveTo>
                          <a:cubicBezTo>
                            <a:pt x="16" y="0"/>
                            <a:pt x="13" y="1"/>
                            <a:pt x="11" y="2"/>
                          </a:cubicBezTo>
                          <a:cubicBezTo>
                            <a:pt x="3" y="6"/>
                            <a:pt x="0" y="16"/>
                            <a:pt x="4" y="24"/>
                          </a:cubicBezTo>
                          <a:cubicBezTo>
                            <a:pt x="7" y="30"/>
                            <a:pt x="13" y="33"/>
                            <a:pt x="19" y="33"/>
                          </a:cubicBezTo>
                          <a:cubicBezTo>
                            <a:pt x="21" y="33"/>
                            <a:pt x="24" y="32"/>
                            <a:pt x="26" y="31"/>
                          </a:cubicBezTo>
                          <a:cubicBezTo>
                            <a:pt x="30" y="29"/>
                            <a:pt x="33" y="25"/>
                            <a:pt x="34" y="21"/>
                          </a:cubicBezTo>
                          <a:cubicBezTo>
                            <a:pt x="35" y="17"/>
                            <a:pt x="35" y="13"/>
                            <a:pt x="33" y="9"/>
                          </a:cubicBezTo>
                          <a:cubicBezTo>
                            <a:pt x="30" y="4"/>
                            <a:pt x="24" y="0"/>
                            <a:pt x="18" y="0"/>
                          </a:cubicBezTo>
                          <a:close/>
                          <a:moveTo>
                            <a:pt x="30" y="20"/>
                          </a:moveTo>
                          <a:cubicBezTo>
                            <a:pt x="29" y="23"/>
                            <a:pt x="27" y="25"/>
                            <a:pt x="24" y="27"/>
                          </a:cubicBezTo>
                          <a:cubicBezTo>
                            <a:pt x="22" y="28"/>
                            <a:pt x="20" y="28"/>
                            <a:pt x="19" y="28"/>
                          </a:cubicBezTo>
                          <a:cubicBezTo>
                            <a:pt x="14" y="28"/>
                            <a:pt x="10" y="26"/>
                            <a:pt x="8" y="22"/>
                          </a:cubicBezTo>
                          <a:cubicBezTo>
                            <a:pt x="5" y="16"/>
                            <a:pt x="7" y="9"/>
                            <a:pt x="13" y="6"/>
                          </a:cubicBezTo>
                          <a:cubicBezTo>
                            <a:pt x="15" y="5"/>
                            <a:pt x="17" y="5"/>
                            <a:pt x="18" y="5"/>
                          </a:cubicBezTo>
                          <a:cubicBezTo>
                            <a:pt x="23" y="5"/>
                            <a:pt x="27" y="7"/>
                            <a:pt x="29" y="11"/>
                          </a:cubicBezTo>
                          <a:cubicBezTo>
                            <a:pt x="30" y="14"/>
                            <a:pt x="31" y="17"/>
                            <a:pt x="30" y="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6" name="iṣlïḋe"/>
                    <p:cNvSpPr/>
                    <p:nvPr/>
                  </p:nvSpPr>
                  <p:spPr bwMode="auto">
                    <a:xfrm>
                      <a:off x="7962900" y="-1506538"/>
                      <a:ext cx="869950" cy="1003300"/>
                    </a:xfrm>
                    <a:custGeom>
                      <a:avLst/>
                      <a:gdLst>
                        <a:gd name="T0" fmla="*/ 158 w 159"/>
                        <a:gd name="T1" fmla="*/ 135 h 183"/>
                        <a:gd name="T2" fmla="*/ 86 w 159"/>
                        <a:gd name="T3" fmla="*/ 2 h 183"/>
                        <a:gd name="T4" fmla="*/ 84 w 159"/>
                        <a:gd name="T5" fmla="*/ 0 h 183"/>
                        <a:gd name="T6" fmla="*/ 83 w 159"/>
                        <a:gd name="T7" fmla="*/ 1 h 183"/>
                        <a:gd name="T8" fmla="*/ 1 w 159"/>
                        <a:gd name="T9" fmla="*/ 45 h 183"/>
                        <a:gd name="T10" fmla="*/ 0 w 159"/>
                        <a:gd name="T11" fmla="*/ 48 h 183"/>
                        <a:gd name="T12" fmla="*/ 72 w 159"/>
                        <a:gd name="T13" fmla="*/ 181 h 183"/>
                        <a:gd name="T14" fmla="*/ 74 w 159"/>
                        <a:gd name="T15" fmla="*/ 183 h 183"/>
                        <a:gd name="T16" fmla="*/ 74 w 159"/>
                        <a:gd name="T17" fmla="*/ 183 h 183"/>
                        <a:gd name="T18" fmla="*/ 76 w 159"/>
                        <a:gd name="T19" fmla="*/ 182 h 183"/>
                        <a:gd name="T20" fmla="*/ 157 w 159"/>
                        <a:gd name="T21" fmla="*/ 138 h 183"/>
                        <a:gd name="T22" fmla="*/ 158 w 159"/>
                        <a:gd name="T23" fmla="*/ 135 h 183"/>
                        <a:gd name="T24" fmla="*/ 83 w 159"/>
                        <a:gd name="T25" fmla="*/ 6 h 183"/>
                        <a:gd name="T26" fmla="*/ 117 w 159"/>
                        <a:gd name="T27" fmla="*/ 69 h 183"/>
                        <a:gd name="T28" fmla="*/ 39 w 159"/>
                        <a:gd name="T29" fmla="*/ 110 h 183"/>
                        <a:gd name="T30" fmla="*/ 6 w 159"/>
                        <a:gd name="T31" fmla="*/ 48 h 183"/>
                        <a:gd name="T32" fmla="*/ 83 w 159"/>
                        <a:gd name="T33" fmla="*/ 6 h 183"/>
                        <a:gd name="T34" fmla="*/ 75 w 159"/>
                        <a:gd name="T35" fmla="*/ 177 h 183"/>
                        <a:gd name="T36" fmla="*/ 42 w 159"/>
                        <a:gd name="T37" fmla="*/ 114 h 183"/>
                        <a:gd name="T38" fmla="*/ 119 w 159"/>
                        <a:gd name="T39" fmla="*/ 73 h 183"/>
                        <a:gd name="T40" fmla="*/ 153 w 159"/>
                        <a:gd name="T41" fmla="*/ 135 h 183"/>
                        <a:gd name="T42" fmla="*/ 75 w 159"/>
                        <a:gd name="T43" fmla="*/ 17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83">
                          <a:moveTo>
                            <a:pt x="158" y="135"/>
                          </a:moveTo>
                          <a:cubicBezTo>
                            <a:pt x="86" y="2"/>
                            <a:pt x="86" y="2"/>
                            <a:pt x="86" y="2"/>
                          </a:cubicBezTo>
                          <a:cubicBezTo>
                            <a:pt x="86" y="1"/>
                            <a:pt x="85" y="1"/>
                            <a:pt x="84" y="0"/>
                          </a:cubicBezTo>
                          <a:cubicBezTo>
                            <a:pt x="84" y="0"/>
                            <a:pt x="83" y="0"/>
                            <a:pt x="83" y="1"/>
                          </a:cubicBezTo>
                          <a:cubicBezTo>
                            <a:pt x="1" y="45"/>
                            <a:pt x="1" y="45"/>
                            <a:pt x="1" y="45"/>
                          </a:cubicBezTo>
                          <a:cubicBezTo>
                            <a:pt x="0" y="45"/>
                            <a:pt x="0" y="47"/>
                            <a:pt x="0" y="48"/>
                          </a:cubicBezTo>
                          <a:cubicBezTo>
                            <a:pt x="72" y="181"/>
                            <a:pt x="72" y="181"/>
                            <a:pt x="72" y="181"/>
                          </a:cubicBezTo>
                          <a:cubicBezTo>
                            <a:pt x="73" y="182"/>
                            <a:pt x="73" y="182"/>
                            <a:pt x="74" y="183"/>
                          </a:cubicBezTo>
                          <a:cubicBezTo>
                            <a:pt x="74" y="183"/>
                            <a:pt x="74" y="183"/>
                            <a:pt x="74" y="183"/>
                          </a:cubicBezTo>
                          <a:cubicBezTo>
                            <a:pt x="75" y="183"/>
                            <a:pt x="75" y="183"/>
                            <a:pt x="76" y="182"/>
                          </a:cubicBezTo>
                          <a:cubicBezTo>
                            <a:pt x="157" y="138"/>
                            <a:pt x="157" y="138"/>
                            <a:pt x="157" y="138"/>
                          </a:cubicBezTo>
                          <a:cubicBezTo>
                            <a:pt x="158" y="138"/>
                            <a:pt x="159" y="136"/>
                            <a:pt x="158" y="135"/>
                          </a:cubicBezTo>
                          <a:close/>
                          <a:moveTo>
                            <a:pt x="83" y="6"/>
                          </a:moveTo>
                          <a:cubicBezTo>
                            <a:pt x="117" y="69"/>
                            <a:pt x="117" y="69"/>
                            <a:pt x="117" y="69"/>
                          </a:cubicBezTo>
                          <a:cubicBezTo>
                            <a:pt x="39" y="110"/>
                            <a:pt x="39" y="110"/>
                            <a:pt x="39" y="110"/>
                          </a:cubicBezTo>
                          <a:cubicBezTo>
                            <a:pt x="6" y="48"/>
                            <a:pt x="6" y="48"/>
                            <a:pt x="6" y="48"/>
                          </a:cubicBezTo>
                          <a:lnTo>
                            <a:pt x="83" y="6"/>
                          </a:lnTo>
                          <a:close/>
                          <a:moveTo>
                            <a:pt x="75" y="177"/>
                          </a:moveTo>
                          <a:cubicBezTo>
                            <a:pt x="42" y="114"/>
                            <a:pt x="42" y="114"/>
                            <a:pt x="42" y="114"/>
                          </a:cubicBezTo>
                          <a:cubicBezTo>
                            <a:pt x="119" y="73"/>
                            <a:pt x="119" y="73"/>
                            <a:pt x="119" y="73"/>
                          </a:cubicBezTo>
                          <a:cubicBezTo>
                            <a:pt x="153" y="135"/>
                            <a:pt x="153" y="135"/>
                            <a:pt x="153" y="135"/>
                          </a:cubicBezTo>
                          <a:lnTo>
                            <a:pt x="75" y="17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7" name="ïṩļîḋê"/>
                    <p:cNvSpPr/>
                    <p:nvPr/>
                  </p:nvSpPr>
                  <p:spPr bwMode="auto">
                    <a:xfrm>
                      <a:off x="8132763" y="-1341438"/>
                      <a:ext cx="234950" cy="136525"/>
                    </a:xfrm>
                    <a:custGeom>
                      <a:avLst/>
                      <a:gdLst>
                        <a:gd name="T0" fmla="*/ 42 w 43"/>
                        <a:gd name="T1" fmla="*/ 4 h 25"/>
                        <a:gd name="T2" fmla="*/ 43 w 43"/>
                        <a:gd name="T3" fmla="*/ 1 h 25"/>
                        <a:gd name="T4" fmla="*/ 40 w 43"/>
                        <a:gd name="T5" fmla="*/ 0 h 25"/>
                        <a:gd name="T6" fmla="*/ 2 w 43"/>
                        <a:gd name="T7" fmla="*/ 21 h 25"/>
                        <a:gd name="T8" fmla="*/ 1 w 43"/>
                        <a:gd name="T9" fmla="*/ 24 h 25"/>
                        <a:gd name="T10" fmla="*/ 3 w 43"/>
                        <a:gd name="T11" fmla="*/ 25 h 25"/>
                        <a:gd name="T12" fmla="*/ 4 w 43"/>
                        <a:gd name="T13" fmla="*/ 25 h 25"/>
                        <a:gd name="T14" fmla="*/ 42 w 43"/>
                        <a:gd name="T15" fmla="*/ 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42" y="4"/>
                          </a:moveTo>
                          <a:cubicBezTo>
                            <a:pt x="43" y="4"/>
                            <a:pt x="43" y="2"/>
                            <a:pt x="43" y="1"/>
                          </a:cubicBezTo>
                          <a:cubicBezTo>
                            <a:pt x="42" y="0"/>
                            <a:pt x="41" y="0"/>
                            <a:pt x="40" y="0"/>
                          </a:cubicBezTo>
                          <a:cubicBezTo>
                            <a:pt x="2" y="21"/>
                            <a:pt x="2" y="21"/>
                            <a:pt x="2" y="21"/>
                          </a:cubicBezTo>
                          <a:cubicBezTo>
                            <a:pt x="0" y="21"/>
                            <a:pt x="0" y="23"/>
                            <a:pt x="1" y="24"/>
                          </a:cubicBezTo>
                          <a:cubicBezTo>
                            <a:pt x="1" y="25"/>
                            <a:pt x="2" y="25"/>
                            <a:pt x="3" y="25"/>
                          </a:cubicBezTo>
                          <a:cubicBezTo>
                            <a:pt x="3" y="25"/>
                            <a:pt x="3" y="25"/>
                            <a:pt x="4" y="25"/>
                          </a:cubicBezTo>
                          <a:lnTo>
                            <a:pt x="42" y="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8" name="îṩ1iďê"/>
                    <p:cNvSpPr/>
                    <p:nvPr/>
                  </p:nvSpPr>
                  <p:spPr bwMode="auto">
                    <a:xfrm>
                      <a:off x="8329613" y="-981075"/>
                      <a:ext cx="234950" cy="138113"/>
                    </a:xfrm>
                    <a:custGeom>
                      <a:avLst/>
                      <a:gdLst>
                        <a:gd name="T0" fmla="*/ 43 w 43"/>
                        <a:gd name="T1" fmla="*/ 1 h 25"/>
                        <a:gd name="T2" fmla="*/ 39 w 43"/>
                        <a:gd name="T3" fmla="*/ 0 h 25"/>
                        <a:gd name="T4" fmla="*/ 1 w 43"/>
                        <a:gd name="T5" fmla="*/ 21 h 25"/>
                        <a:gd name="T6" fmla="*/ 0 w 43"/>
                        <a:gd name="T7" fmla="*/ 24 h 25"/>
                        <a:gd name="T8" fmla="*/ 2 w 43"/>
                        <a:gd name="T9" fmla="*/ 25 h 25"/>
                        <a:gd name="T10" fmla="*/ 3 w 43"/>
                        <a:gd name="T11" fmla="*/ 25 h 25"/>
                        <a:gd name="T12" fmla="*/ 42 w 43"/>
                        <a:gd name="T13" fmla="*/ 4 h 25"/>
                        <a:gd name="T14" fmla="*/ 43 w 43"/>
                        <a:gd name="T15" fmla="*/ 1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43" y="1"/>
                          </a:moveTo>
                          <a:cubicBezTo>
                            <a:pt x="42" y="0"/>
                            <a:pt x="41" y="0"/>
                            <a:pt x="39" y="0"/>
                          </a:cubicBezTo>
                          <a:cubicBezTo>
                            <a:pt x="1" y="21"/>
                            <a:pt x="1" y="21"/>
                            <a:pt x="1" y="21"/>
                          </a:cubicBezTo>
                          <a:cubicBezTo>
                            <a:pt x="0" y="22"/>
                            <a:pt x="0" y="23"/>
                            <a:pt x="0" y="24"/>
                          </a:cubicBezTo>
                          <a:cubicBezTo>
                            <a:pt x="1" y="25"/>
                            <a:pt x="2" y="25"/>
                            <a:pt x="2" y="25"/>
                          </a:cubicBezTo>
                          <a:cubicBezTo>
                            <a:pt x="3" y="25"/>
                            <a:pt x="3" y="25"/>
                            <a:pt x="3" y="25"/>
                          </a:cubicBezTo>
                          <a:cubicBezTo>
                            <a:pt x="42" y="4"/>
                            <a:pt x="42" y="4"/>
                            <a:pt x="42" y="4"/>
                          </a:cubicBezTo>
                          <a:cubicBezTo>
                            <a:pt x="43" y="4"/>
                            <a:pt x="43" y="2"/>
                            <a:pt x="43" y="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grpSp>
              <p:nvGrpSpPr>
                <p:cNvPr id="157" name="ïśḷîďé"/>
                <p:cNvGrpSpPr/>
                <p:nvPr/>
              </p:nvGrpSpPr>
              <p:grpSpPr>
                <a:xfrm>
                  <a:off x="5617397" y="2082706"/>
                  <a:ext cx="966792" cy="971549"/>
                  <a:chOff x="5137150" y="-1846263"/>
                  <a:chExt cx="1935163" cy="1944688"/>
                </a:xfrm>
              </p:grpSpPr>
              <p:sp>
                <p:nvSpPr>
                  <p:cNvPr id="183" name="iṧḻiḋe"/>
                  <p:cNvSpPr/>
                  <p:nvPr/>
                </p:nvSpPr>
                <p:spPr bwMode="auto">
                  <a:xfrm>
                    <a:off x="5137150" y="-1846263"/>
                    <a:ext cx="1935163" cy="1944688"/>
                  </a:xfrm>
                  <a:prstGeom prst="ellipse">
                    <a:avLst/>
                  </a:prstGeom>
                  <a:solidFill>
                    <a:srgbClr val="9BBB59">
                      <a:lumMod val="100000"/>
                    </a:srgbClr>
                  </a:soli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84" name="îṡ1îḓé"/>
                  <p:cNvGrpSpPr/>
                  <p:nvPr/>
                </p:nvGrpSpPr>
                <p:grpSpPr>
                  <a:xfrm>
                    <a:off x="5526088" y="-1517650"/>
                    <a:ext cx="1158875" cy="1292225"/>
                    <a:chOff x="5526088" y="-1517650"/>
                    <a:chExt cx="1158875" cy="1292225"/>
                  </a:xfrm>
                </p:grpSpPr>
                <p:sp>
                  <p:nvSpPr>
                    <p:cNvPr id="185" name="íśľïḋê"/>
                    <p:cNvSpPr/>
                    <p:nvPr/>
                  </p:nvSpPr>
                  <p:spPr bwMode="auto">
                    <a:xfrm>
                      <a:off x="5656263" y="-1517650"/>
                      <a:ext cx="950913" cy="784225"/>
                    </a:xfrm>
                    <a:custGeom>
                      <a:avLst/>
                      <a:gdLst>
                        <a:gd name="T0" fmla="*/ 172 w 174"/>
                        <a:gd name="T1" fmla="*/ 143 h 143"/>
                        <a:gd name="T2" fmla="*/ 2 w 174"/>
                        <a:gd name="T3" fmla="*/ 143 h 143"/>
                        <a:gd name="T4" fmla="*/ 0 w 174"/>
                        <a:gd name="T5" fmla="*/ 140 h 143"/>
                        <a:gd name="T6" fmla="*/ 0 w 174"/>
                        <a:gd name="T7" fmla="*/ 2 h 143"/>
                        <a:gd name="T8" fmla="*/ 2 w 174"/>
                        <a:gd name="T9" fmla="*/ 0 h 143"/>
                        <a:gd name="T10" fmla="*/ 172 w 174"/>
                        <a:gd name="T11" fmla="*/ 0 h 143"/>
                        <a:gd name="T12" fmla="*/ 174 w 174"/>
                        <a:gd name="T13" fmla="*/ 2 h 143"/>
                        <a:gd name="T14" fmla="*/ 174 w 174"/>
                        <a:gd name="T15" fmla="*/ 140 h 143"/>
                        <a:gd name="T16" fmla="*/ 172 w 174"/>
                        <a:gd name="T17" fmla="*/ 143 h 143"/>
                        <a:gd name="T18" fmla="*/ 4 w 174"/>
                        <a:gd name="T19" fmla="*/ 138 h 143"/>
                        <a:gd name="T20" fmla="*/ 169 w 174"/>
                        <a:gd name="T21" fmla="*/ 138 h 143"/>
                        <a:gd name="T22" fmla="*/ 169 w 174"/>
                        <a:gd name="T23" fmla="*/ 4 h 143"/>
                        <a:gd name="T24" fmla="*/ 4 w 174"/>
                        <a:gd name="T25" fmla="*/ 4 h 143"/>
                        <a:gd name="T26" fmla="*/ 4 w 174"/>
                        <a:gd name="T27"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43">
                          <a:moveTo>
                            <a:pt x="172" y="143"/>
                          </a:moveTo>
                          <a:cubicBezTo>
                            <a:pt x="2" y="143"/>
                            <a:pt x="2" y="143"/>
                            <a:pt x="2" y="143"/>
                          </a:cubicBezTo>
                          <a:cubicBezTo>
                            <a:pt x="1" y="143"/>
                            <a:pt x="0" y="142"/>
                            <a:pt x="0" y="140"/>
                          </a:cubicBezTo>
                          <a:cubicBezTo>
                            <a:pt x="0" y="2"/>
                            <a:pt x="0" y="2"/>
                            <a:pt x="0" y="2"/>
                          </a:cubicBezTo>
                          <a:cubicBezTo>
                            <a:pt x="0" y="1"/>
                            <a:pt x="1" y="0"/>
                            <a:pt x="2" y="0"/>
                          </a:cubicBezTo>
                          <a:cubicBezTo>
                            <a:pt x="172" y="0"/>
                            <a:pt x="172" y="0"/>
                            <a:pt x="172" y="0"/>
                          </a:cubicBezTo>
                          <a:cubicBezTo>
                            <a:pt x="173" y="0"/>
                            <a:pt x="174" y="1"/>
                            <a:pt x="174" y="2"/>
                          </a:cubicBezTo>
                          <a:cubicBezTo>
                            <a:pt x="174" y="140"/>
                            <a:pt x="174" y="140"/>
                            <a:pt x="174" y="140"/>
                          </a:cubicBezTo>
                          <a:cubicBezTo>
                            <a:pt x="174" y="142"/>
                            <a:pt x="173" y="143"/>
                            <a:pt x="172" y="143"/>
                          </a:cubicBezTo>
                          <a:close/>
                          <a:moveTo>
                            <a:pt x="4" y="138"/>
                          </a:moveTo>
                          <a:cubicBezTo>
                            <a:pt x="169" y="138"/>
                            <a:pt x="169" y="138"/>
                            <a:pt x="169" y="138"/>
                          </a:cubicBezTo>
                          <a:cubicBezTo>
                            <a:pt x="169" y="4"/>
                            <a:pt x="169" y="4"/>
                            <a:pt x="169" y="4"/>
                          </a:cubicBezTo>
                          <a:cubicBezTo>
                            <a:pt x="4" y="4"/>
                            <a:pt x="4" y="4"/>
                            <a:pt x="4" y="4"/>
                          </a:cubicBezTo>
                          <a:lnTo>
                            <a:pt x="4" y="13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6" name="íŝḻiḋê"/>
                    <p:cNvSpPr/>
                    <p:nvPr/>
                  </p:nvSpPr>
                  <p:spPr bwMode="auto">
                    <a:xfrm>
                      <a:off x="5962650" y="-1408113"/>
                      <a:ext cx="339725" cy="93663"/>
                    </a:xfrm>
                    <a:custGeom>
                      <a:avLst/>
                      <a:gdLst>
                        <a:gd name="T0" fmla="*/ 53 w 62"/>
                        <a:gd name="T1" fmla="*/ 17 h 17"/>
                        <a:gd name="T2" fmla="*/ 9 w 62"/>
                        <a:gd name="T3" fmla="*/ 17 h 17"/>
                        <a:gd name="T4" fmla="*/ 0 w 62"/>
                        <a:gd name="T5" fmla="*/ 9 h 17"/>
                        <a:gd name="T6" fmla="*/ 9 w 62"/>
                        <a:gd name="T7" fmla="*/ 0 h 17"/>
                        <a:gd name="T8" fmla="*/ 53 w 62"/>
                        <a:gd name="T9" fmla="*/ 0 h 17"/>
                        <a:gd name="T10" fmla="*/ 62 w 62"/>
                        <a:gd name="T11" fmla="*/ 9 h 17"/>
                        <a:gd name="T12" fmla="*/ 53 w 62"/>
                        <a:gd name="T13" fmla="*/ 17 h 17"/>
                        <a:gd name="T14" fmla="*/ 9 w 62"/>
                        <a:gd name="T15" fmla="*/ 4 h 17"/>
                        <a:gd name="T16" fmla="*/ 4 w 62"/>
                        <a:gd name="T17" fmla="*/ 9 h 17"/>
                        <a:gd name="T18" fmla="*/ 9 w 62"/>
                        <a:gd name="T19" fmla="*/ 13 h 17"/>
                        <a:gd name="T20" fmla="*/ 53 w 62"/>
                        <a:gd name="T21" fmla="*/ 13 h 17"/>
                        <a:gd name="T22" fmla="*/ 57 w 62"/>
                        <a:gd name="T23" fmla="*/ 9 h 17"/>
                        <a:gd name="T24" fmla="*/ 53 w 62"/>
                        <a:gd name="T25" fmla="*/ 4 h 17"/>
                        <a:gd name="T26" fmla="*/ 9 w 62"/>
                        <a:gd name="T2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17">
                          <a:moveTo>
                            <a:pt x="53" y="17"/>
                          </a:moveTo>
                          <a:cubicBezTo>
                            <a:pt x="9" y="17"/>
                            <a:pt x="9" y="17"/>
                            <a:pt x="9" y="17"/>
                          </a:cubicBezTo>
                          <a:cubicBezTo>
                            <a:pt x="4" y="17"/>
                            <a:pt x="0" y="13"/>
                            <a:pt x="0" y="9"/>
                          </a:cubicBezTo>
                          <a:cubicBezTo>
                            <a:pt x="0" y="4"/>
                            <a:pt x="4" y="0"/>
                            <a:pt x="9" y="0"/>
                          </a:cubicBezTo>
                          <a:cubicBezTo>
                            <a:pt x="53" y="0"/>
                            <a:pt x="53" y="0"/>
                            <a:pt x="53" y="0"/>
                          </a:cubicBezTo>
                          <a:cubicBezTo>
                            <a:pt x="58" y="0"/>
                            <a:pt x="62" y="4"/>
                            <a:pt x="62" y="9"/>
                          </a:cubicBezTo>
                          <a:cubicBezTo>
                            <a:pt x="62" y="13"/>
                            <a:pt x="58" y="17"/>
                            <a:pt x="53" y="17"/>
                          </a:cubicBezTo>
                          <a:close/>
                          <a:moveTo>
                            <a:pt x="9" y="4"/>
                          </a:moveTo>
                          <a:cubicBezTo>
                            <a:pt x="6" y="4"/>
                            <a:pt x="4" y="6"/>
                            <a:pt x="4" y="9"/>
                          </a:cubicBezTo>
                          <a:cubicBezTo>
                            <a:pt x="4" y="11"/>
                            <a:pt x="6" y="13"/>
                            <a:pt x="9" y="13"/>
                          </a:cubicBezTo>
                          <a:cubicBezTo>
                            <a:pt x="53" y="13"/>
                            <a:pt x="53" y="13"/>
                            <a:pt x="53" y="13"/>
                          </a:cubicBezTo>
                          <a:cubicBezTo>
                            <a:pt x="55" y="13"/>
                            <a:pt x="57" y="11"/>
                            <a:pt x="57" y="9"/>
                          </a:cubicBezTo>
                          <a:cubicBezTo>
                            <a:pt x="57" y="6"/>
                            <a:pt x="55" y="4"/>
                            <a:pt x="53" y="4"/>
                          </a:cubicBezTo>
                          <a:lnTo>
                            <a:pt x="9" y="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7" name="îSliḑe"/>
                    <p:cNvSpPr/>
                    <p:nvPr/>
                  </p:nvSpPr>
                  <p:spPr bwMode="auto">
                    <a:xfrm>
                      <a:off x="5640388" y="-498475"/>
                      <a:ext cx="152400" cy="15398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5 h 28"/>
                        <a:gd name="T12" fmla="*/ 5 w 28"/>
                        <a:gd name="T13" fmla="*/ 14 h 28"/>
                        <a:gd name="T14" fmla="*/ 14 w 28"/>
                        <a:gd name="T15" fmla="*/ 23 h 28"/>
                        <a:gd name="T16" fmla="*/ 23 w 28"/>
                        <a:gd name="T17" fmla="*/ 14 h 28"/>
                        <a:gd name="T18" fmla="*/ 14 w 28"/>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7"/>
                            <a:pt x="6" y="0"/>
                            <a:pt x="14" y="0"/>
                          </a:cubicBezTo>
                          <a:cubicBezTo>
                            <a:pt x="22" y="0"/>
                            <a:pt x="28" y="7"/>
                            <a:pt x="28" y="14"/>
                          </a:cubicBezTo>
                          <a:cubicBezTo>
                            <a:pt x="28" y="22"/>
                            <a:pt x="22" y="28"/>
                            <a:pt x="14" y="28"/>
                          </a:cubicBezTo>
                          <a:close/>
                          <a:moveTo>
                            <a:pt x="14" y="5"/>
                          </a:moveTo>
                          <a:cubicBezTo>
                            <a:pt x="9" y="5"/>
                            <a:pt x="5" y="9"/>
                            <a:pt x="5" y="14"/>
                          </a:cubicBezTo>
                          <a:cubicBezTo>
                            <a:pt x="5"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8" name="ï$ľïdè"/>
                    <p:cNvSpPr/>
                    <p:nvPr/>
                  </p:nvSpPr>
                  <p:spPr bwMode="auto">
                    <a:xfrm>
                      <a:off x="5886450" y="-498475"/>
                      <a:ext cx="152400" cy="15398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5 h 28"/>
                        <a:gd name="T12" fmla="*/ 5 w 28"/>
                        <a:gd name="T13" fmla="*/ 14 h 28"/>
                        <a:gd name="T14" fmla="*/ 14 w 28"/>
                        <a:gd name="T15" fmla="*/ 23 h 28"/>
                        <a:gd name="T16" fmla="*/ 23 w 28"/>
                        <a:gd name="T17" fmla="*/ 14 h 28"/>
                        <a:gd name="T18" fmla="*/ 14 w 28"/>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7"/>
                            <a:pt x="6" y="0"/>
                            <a:pt x="14" y="0"/>
                          </a:cubicBezTo>
                          <a:cubicBezTo>
                            <a:pt x="21" y="0"/>
                            <a:pt x="28" y="7"/>
                            <a:pt x="28" y="14"/>
                          </a:cubicBezTo>
                          <a:cubicBezTo>
                            <a:pt x="28" y="22"/>
                            <a:pt x="21" y="28"/>
                            <a:pt x="14" y="28"/>
                          </a:cubicBezTo>
                          <a:close/>
                          <a:moveTo>
                            <a:pt x="14" y="5"/>
                          </a:moveTo>
                          <a:cubicBezTo>
                            <a:pt x="9" y="5"/>
                            <a:pt x="5" y="9"/>
                            <a:pt x="5" y="14"/>
                          </a:cubicBezTo>
                          <a:cubicBezTo>
                            <a:pt x="5"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9" name="íşļïḑè"/>
                    <p:cNvSpPr/>
                    <p:nvPr/>
                  </p:nvSpPr>
                  <p:spPr bwMode="auto">
                    <a:xfrm>
                      <a:off x="6132513" y="-498475"/>
                      <a:ext cx="147638" cy="153988"/>
                    </a:xfrm>
                    <a:custGeom>
                      <a:avLst/>
                      <a:gdLst>
                        <a:gd name="T0" fmla="*/ 14 w 27"/>
                        <a:gd name="T1" fmla="*/ 28 h 28"/>
                        <a:gd name="T2" fmla="*/ 0 w 27"/>
                        <a:gd name="T3" fmla="*/ 14 h 28"/>
                        <a:gd name="T4" fmla="*/ 14 w 27"/>
                        <a:gd name="T5" fmla="*/ 0 h 28"/>
                        <a:gd name="T6" fmla="*/ 27 w 27"/>
                        <a:gd name="T7" fmla="*/ 14 h 28"/>
                        <a:gd name="T8" fmla="*/ 14 w 27"/>
                        <a:gd name="T9" fmla="*/ 28 h 28"/>
                        <a:gd name="T10" fmla="*/ 14 w 27"/>
                        <a:gd name="T11" fmla="*/ 5 h 28"/>
                        <a:gd name="T12" fmla="*/ 4 w 27"/>
                        <a:gd name="T13" fmla="*/ 14 h 28"/>
                        <a:gd name="T14" fmla="*/ 14 w 27"/>
                        <a:gd name="T15" fmla="*/ 23 h 28"/>
                        <a:gd name="T16" fmla="*/ 23 w 27"/>
                        <a:gd name="T17" fmla="*/ 14 h 28"/>
                        <a:gd name="T18" fmla="*/ 14 w 27"/>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14" y="28"/>
                          </a:moveTo>
                          <a:cubicBezTo>
                            <a:pt x="6" y="28"/>
                            <a:pt x="0" y="22"/>
                            <a:pt x="0" y="14"/>
                          </a:cubicBezTo>
                          <a:cubicBezTo>
                            <a:pt x="0" y="7"/>
                            <a:pt x="6" y="0"/>
                            <a:pt x="14" y="0"/>
                          </a:cubicBezTo>
                          <a:cubicBezTo>
                            <a:pt x="21" y="0"/>
                            <a:pt x="27" y="7"/>
                            <a:pt x="27" y="14"/>
                          </a:cubicBezTo>
                          <a:cubicBezTo>
                            <a:pt x="27" y="22"/>
                            <a:pt x="21" y="28"/>
                            <a:pt x="14" y="28"/>
                          </a:cubicBezTo>
                          <a:close/>
                          <a:moveTo>
                            <a:pt x="14" y="5"/>
                          </a:moveTo>
                          <a:cubicBezTo>
                            <a:pt x="9" y="5"/>
                            <a:pt x="4" y="9"/>
                            <a:pt x="4" y="14"/>
                          </a:cubicBezTo>
                          <a:cubicBezTo>
                            <a:pt x="4" y="19"/>
                            <a:pt x="9" y="23"/>
                            <a:pt x="14" y="23"/>
                          </a:cubicBezTo>
                          <a:cubicBezTo>
                            <a:pt x="19" y="23"/>
                            <a:pt x="23" y="19"/>
                            <a:pt x="23" y="14"/>
                          </a:cubicBezTo>
                          <a:cubicBezTo>
                            <a:pt x="23" y="9"/>
                            <a:pt x="19" y="5"/>
                            <a:pt x="14"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0" name="ïsľiḑe"/>
                    <p:cNvSpPr/>
                    <p:nvPr/>
                  </p:nvSpPr>
                  <p:spPr bwMode="auto">
                    <a:xfrm>
                      <a:off x="6378575" y="-498475"/>
                      <a:ext cx="147638" cy="153988"/>
                    </a:xfrm>
                    <a:custGeom>
                      <a:avLst/>
                      <a:gdLst>
                        <a:gd name="T0" fmla="*/ 13 w 27"/>
                        <a:gd name="T1" fmla="*/ 28 h 28"/>
                        <a:gd name="T2" fmla="*/ 0 w 27"/>
                        <a:gd name="T3" fmla="*/ 14 h 28"/>
                        <a:gd name="T4" fmla="*/ 13 w 27"/>
                        <a:gd name="T5" fmla="*/ 0 h 28"/>
                        <a:gd name="T6" fmla="*/ 27 w 27"/>
                        <a:gd name="T7" fmla="*/ 14 h 28"/>
                        <a:gd name="T8" fmla="*/ 13 w 27"/>
                        <a:gd name="T9" fmla="*/ 28 h 28"/>
                        <a:gd name="T10" fmla="*/ 13 w 27"/>
                        <a:gd name="T11" fmla="*/ 5 h 28"/>
                        <a:gd name="T12" fmla="*/ 4 w 27"/>
                        <a:gd name="T13" fmla="*/ 14 h 28"/>
                        <a:gd name="T14" fmla="*/ 13 w 27"/>
                        <a:gd name="T15" fmla="*/ 23 h 28"/>
                        <a:gd name="T16" fmla="*/ 23 w 27"/>
                        <a:gd name="T17" fmla="*/ 14 h 28"/>
                        <a:gd name="T18" fmla="*/ 13 w 27"/>
                        <a:gd name="T19"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8">
                          <a:moveTo>
                            <a:pt x="13" y="28"/>
                          </a:moveTo>
                          <a:cubicBezTo>
                            <a:pt x="6" y="28"/>
                            <a:pt x="0" y="22"/>
                            <a:pt x="0" y="14"/>
                          </a:cubicBezTo>
                          <a:cubicBezTo>
                            <a:pt x="0" y="7"/>
                            <a:pt x="6" y="0"/>
                            <a:pt x="13" y="0"/>
                          </a:cubicBezTo>
                          <a:cubicBezTo>
                            <a:pt x="21" y="0"/>
                            <a:pt x="27" y="7"/>
                            <a:pt x="27" y="14"/>
                          </a:cubicBezTo>
                          <a:cubicBezTo>
                            <a:pt x="27" y="22"/>
                            <a:pt x="21" y="28"/>
                            <a:pt x="13" y="28"/>
                          </a:cubicBezTo>
                          <a:close/>
                          <a:moveTo>
                            <a:pt x="13" y="5"/>
                          </a:moveTo>
                          <a:cubicBezTo>
                            <a:pt x="8" y="5"/>
                            <a:pt x="4" y="9"/>
                            <a:pt x="4" y="14"/>
                          </a:cubicBezTo>
                          <a:cubicBezTo>
                            <a:pt x="4" y="19"/>
                            <a:pt x="8" y="23"/>
                            <a:pt x="13" y="23"/>
                          </a:cubicBezTo>
                          <a:cubicBezTo>
                            <a:pt x="19" y="23"/>
                            <a:pt x="23" y="19"/>
                            <a:pt x="23" y="14"/>
                          </a:cubicBezTo>
                          <a:cubicBezTo>
                            <a:pt x="23" y="9"/>
                            <a:pt x="19"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91" name="îşlïdé"/>
                    <p:cNvSpPr/>
                    <p:nvPr/>
                  </p:nvSpPr>
                  <p:spPr bwMode="auto">
                    <a:xfrm>
                      <a:off x="5526088" y="-612775"/>
                      <a:ext cx="1158875" cy="387350"/>
                    </a:xfrm>
                    <a:custGeom>
                      <a:avLst/>
                      <a:gdLst>
                        <a:gd name="T0" fmla="*/ 210 w 212"/>
                        <a:gd name="T1" fmla="*/ 71 h 71"/>
                        <a:gd name="T2" fmla="*/ 35 w 212"/>
                        <a:gd name="T3" fmla="*/ 71 h 71"/>
                        <a:gd name="T4" fmla="*/ 0 w 212"/>
                        <a:gd name="T5" fmla="*/ 35 h 71"/>
                        <a:gd name="T6" fmla="*/ 35 w 212"/>
                        <a:gd name="T7" fmla="*/ 0 h 71"/>
                        <a:gd name="T8" fmla="*/ 210 w 212"/>
                        <a:gd name="T9" fmla="*/ 0 h 71"/>
                        <a:gd name="T10" fmla="*/ 212 w 212"/>
                        <a:gd name="T11" fmla="*/ 2 h 71"/>
                        <a:gd name="T12" fmla="*/ 210 w 212"/>
                        <a:gd name="T13" fmla="*/ 5 h 71"/>
                        <a:gd name="T14" fmla="*/ 35 w 212"/>
                        <a:gd name="T15" fmla="*/ 5 h 71"/>
                        <a:gd name="T16" fmla="*/ 4 w 212"/>
                        <a:gd name="T17" fmla="*/ 35 h 71"/>
                        <a:gd name="T18" fmla="*/ 35 w 212"/>
                        <a:gd name="T19" fmla="*/ 66 h 71"/>
                        <a:gd name="T20" fmla="*/ 210 w 212"/>
                        <a:gd name="T21" fmla="*/ 66 h 71"/>
                        <a:gd name="T22" fmla="*/ 212 w 212"/>
                        <a:gd name="T23" fmla="*/ 68 h 71"/>
                        <a:gd name="T24" fmla="*/ 210 w 212"/>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2" h="71">
                          <a:moveTo>
                            <a:pt x="210" y="71"/>
                          </a:moveTo>
                          <a:cubicBezTo>
                            <a:pt x="35" y="71"/>
                            <a:pt x="35" y="71"/>
                            <a:pt x="35" y="71"/>
                          </a:cubicBezTo>
                          <a:cubicBezTo>
                            <a:pt x="15" y="71"/>
                            <a:pt x="0" y="55"/>
                            <a:pt x="0" y="35"/>
                          </a:cubicBezTo>
                          <a:cubicBezTo>
                            <a:pt x="0" y="16"/>
                            <a:pt x="15" y="0"/>
                            <a:pt x="35" y="0"/>
                          </a:cubicBezTo>
                          <a:cubicBezTo>
                            <a:pt x="210" y="0"/>
                            <a:pt x="210" y="0"/>
                            <a:pt x="210" y="0"/>
                          </a:cubicBezTo>
                          <a:cubicBezTo>
                            <a:pt x="211" y="0"/>
                            <a:pt x="212" y="1"/>
                            <a:pt x="212" y="2"/>
                          </a:cubicBezTo>
                          <a:cubicBezTo>
                            <a:pt x="212" y="4"/>
                            <a:pt x="211" y="5"/>
                            <a:pt x="210" y="5"/>
                          </a:cubicBezTo>
                          <a:cubicBezTo>
                            <a:pt x="35" y="5"/>
                            <a:pt x="35" y="5"/>
                            <a:pt x="35" y="5"/>
                          </a:cubicBezTo>
                          <a:cubicBezTo>
                            <a:pt x="18" y="5"/>
                            <a:pt x="4" y="18"/>
                            <a:pt x="4" y="35"/>
                          </a:cubicBezTo>
                          <a:cubicBezTo>
                            <a:pt x="4" y="52"/>
                            <a:pt x="18" y="66"/>
                            <a:pt x="35" y="66"/>
                          </a:cubicBezTo>
                          <a:cubicBezTo>
                            <a:pt x="210" y="66"/>
                            <a:pt x="210" y="66"/>
                            <a:pt x="210" y="66"/>
                          </a:cubicBezTo>
                          <a:cubicBezTo>
                            <a:pt x="211" y="66"/>
                            <a:pt x="212" y="67"/>
                            <a:pt x="212" y="68"/>
                          </a:cubicBezTo>
                          <a:cubicBezTo>
                            <a:pt x="212" y="69"/>
                            <a:pt x="211" y="71"/>
                            <a:pt x="210" y="7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grpSp>
              <p:nvGrpSpPr>
                <p:cNvPr id="158" name="ïṣḷiḓè"/>
                <p:cNvGrpSpPr/>
                <p:nvPr/>
              </p:nvGrpSpPr>
              <p:grpSpPr>
                <a:xfrm rot="21540000">
                  <a:off x="3822789" y="2810823"/>
                  <a:ext cx="966789" cy="968376"/>
                  <a:chOff x="2552700" y="-1971675"/>
                  <a:chExt cx="1935163" cy="1938338"/>
                </a:xfrm>
              </p:grpSpPr>
              <p:sp>
                <p:nvSpPr>
                  <p:cNvPr id="178" name="iṥ1iḑê"/>
                  <p:cNvSpPr/>
                  <p:nvPr/>
                </p:nvSpPr>
                <p:spPr bwMode="auto">
                  <a:xfrm>
                    <a:off x="2552700" y="-1971675"/>
                    <a:ext cx="1935163" cy="1938338"/>
                  </a:xfrm>
                  <a:prstGeom prst="ellipse">
                    <a:avLst/>
                  </a:prstGeom>
                  <a:solidFill>
                    <a:srgbClr val="C0504D">
                      <a:lumMod val="100000"/>
                    </a:srgbClr>
                  </a:solidFill>
                  <a:ln>
                    <a:noFill/>
                  </a:ln>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nvGrpSpPr>
                  <p:cNvPr id="179" name="íśḷíḑê"/>
                  <p:cNvGrpSpPr/>
                  <p:nvPr/>
                </p:nvGrpSpPr>
                <p:grpSpPr>
                  <a:xfrm>
                    <a:off x="2908300" y="-1620838"/>
                    <a:ext cx="1228725" cy="1236663"/>
                    <a:chOff x="2908300" y="-1620838"/>
                    <a:chExt cx="1228725" cy="1236663"/>
                  </a:xfrm>
                </p:grpSpPr>
                <p:sp>
                  <p:nvSpPr>
                    <p:cNvPr id="180" name="ïSlïde"/>
                    <p:cNvSpPr/>
                    <p:nvPr/>
                  </p:nvSpPr>
                  <p:spPr bwMode="auto">
                    <a:xfrm>
                      <a:off x="3055938" y="-1620838"/>
                      <a:ext cx="234950" cy="234950"/>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2" y="38"/>
                            <a:pt x="5" y="31"/>
                            <a:pt x="5" y="21"/>
                          </a:cubicBezTo>
                          <a:cubicBezTo>
                            <a:pt x="5" y="12"/>
                            <a:pt x="12"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1" name="îṩlïḑè"/>
                    <p:cNvSpPr/>
                    <p:nvPr/>
                  </p:nvSpPr>
                  <p:spPr bwMode="auto">
                    <a:xfrm>
                      <a:off x="3749675" y="-1620838"/>
                      <a:ext cx="234950" cy="234950"/>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3" y="38"/>
                            <a:pt x="5" y="31"/>
                            <a:pt x="5" y="21"/>
                          </a:cubicBezTo>
                          <a:cubicBezTo>
                            <a:pt x="5" y="12"/>
                            <a:pt x="13"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82" name="iṣ1íde"/>
                    <p:cNvSpPr/>
                    <p:nvPr/>
                  </p:nvSpPr>
                  <p:spPr bwMode="auto">
                    <a:xfrm>
                      <a:off x="2908300" y="-1358900"/>
                      <a:ext cx="1228725" cy="974725"/>
                    </a:xfrm>
                    <a:custGeom>
                      <a:avLst/>
                      <a:gdLst>
                        <a:gd name="T0" fmla="*/ 205 w 225"/>
                        <a:gd name="T1" fmla="*/ 13 h 178"/>
                        <a:gd name="T2" fmla="*/ 151 w 225"/>
                        <a:gd name="T3" fmla="*/ 13 h 178"/>
                        <a:gd name="T4" fmla="*/ 112 w 225"/>
                        <a:gd name="T5" fmla="*/ 60 h 178"/>
                        <a:gd name="T6" fmla="*/ 74 w 225"/>
                        <a:gd name="T7" fmla="*/ 13 h 178"/>
                        <a:gd name="T8" fmla="*/ 19 w 225"/>
                        <a:gd name="T9" fmla="*/ 13 h 178"/>
                        <a:gd name="T10" fmla="*/ 2 w 225"/>
                        <a:gd name="T11" fmla="*/ 54 h 178"/>
                        <a:gd name="T12" fmla="*/ 26 w 225"/>
                        <a:gd name="T13" fmla="*/ 94 h 178"/>
                        <a:gd name="T14" fmla="*/ 36 w 225"/>
                        <a:gd name="T15" fmla="*/ 178 h 178"/>
                        <a:gd name="T16" fmla="*/ 53 w 225"/>
                        <a:gd name="T17" fmla="*/ 169 h 178"/>
                        <a:gd name="T18" fmla="*/ 74 w 225"/>
                        <a:gd name="T19" fmla="*/ 169 h 178"/>
                        <a:gd name="T20" fmla="*/ 77 w 225"/>
                        <a:gd name="T21" fmla="*/ 60 h 178"/>
                        <a:gd name="T22" fmla="*/ 112 w 225"/>
                        <a:gd name="T23" fmla="*/ 78 h 178"/>
                        <a:gd name="T24" fmla="*/ 147 w 225"/>
                        <a:gd name="T25" fmla="*/ 61 h 178"/>
                        <a:gd name="T26" fmla="*/ 151 w 225"/>
                        <a:gd name="T27" fmla="*/ 169 h 178"/>
                        <a:gd name="T28" fmla="*/ 171 w 225"/>
                        <a:gd name="T29" fmla="*/ 169 h 178"/>
                        <a:gd name="T30" fmla="*/ 189 w 225"/>
                        <a:gd name="T31" fmla="*/ 178 h 178"/>
                        <a:gd name="T32" fmla="*/ 199 w 225"/>
                        <a:gd name="T33" fmla="*/ 169 h 178"/>
                        <a:gd name="T34" fmla="*/ 207 w 225"/>
                        <a:gd name="T35" fmla="*/ 90 h 178"/>
                        <a:gd name="T36" fmla="*/ 81 w 225"/>
                        <a:gd name="T37" fmla="*/ 57 h 178"/>
                        <a:gd name="T38" fmla="*/ 68 w 225"/>
                        <a:gd name="T39" fmla="*/ 24 h 178"/>
                        <a:gd name="T40" fmla="*/ 66 w 225"/>
                        <a:gd name="T41" fmla="*/ 44 h 178"/>
                        <a:gd name="T42" fmla="*/ 69 w 225"/>
                        <a:gd name="T43" fmla="*/ 147 h 178"/>
                        <a:gd name="T44" fmla="*/ 69 w 225"/>
                        <a:gd name="T45" fmla="*/ 169 h 178"/>
                        <a:gd name="T46" fmla="*/ 52 w 225"/>
                        <a:gd name="T47" fmla="*/ 92 h 178"/>
                        <a:gd name="T48" fmla="*/ 41 w 225"/>
                        <a:gd name="T49" fmla="*/ 168 h 178"/>
                        <a:gd name="T50" fmla="*/ 30 w 225"/>
                        <a:gd name="T51" fmla="*/ 169 h 178"/>
                        <a:gd name="T52" fmla="*/ 31 w 225"/>
                        <a:gd name="T53" fmla="*/ 92 h 178"/>
                        <a:gd name="T54" fmla="*/ 31 w 225"/>
                        <a:gd name="T55" fmla="*/ 76 h 178"/>
                        <a:gd name="T56" fmla="*/ 27 w 225"/>
                        <a:gd name="T57" fmla="*/ 35 h 178"/>
                        <a:gd name="T58" fmla="*/ 23 w 225"/>
                        <a:gd name="T59" fmla="*/ 68 h 178"/>
                        <a:gd name="T60" fmla="*/ 27 w 225"/>
                        <a:gd name="T61" fmla="*/ 80 h 178"/>
                        <a:gd name="T62" fmla="*/ 26 w 225"/>
                        <a:gd name="T63" fmla="*/ 89 h 178"/>
                        <a:gd name="T64" fmla="*/ 6 w 225"/>
                        <a:gd name="T65" fmla="*/ 42 h 178"/>
                        <a:gd name="T66" fmla="*/ 48 w 225"/>
                        <a:gd name="T67" fmla="*/ 4 h 178"/>
                        <a:gd name="T68" fmla="*/ 88 w 225"/>
                        <a:gd name="T69" fmla="*/ 47 h 178"/>
                        <a:gd name="T70" fmla="*/ 110 w 225"/>
                        <a:gd name="T71" fmla="*/ 64 h 178"/>
                        <a:gd name="T72" fmla="*/ 114 w 225"/>
                        <a:gd name="T73" fmla="*/ 72 h 178"/>
                        <a:gd name="T74" fmla="*/ 26 w 225"/>
                        <a:gd name="T75" fmla="*/ 43 h 178"/>
                        <a:gd name="T76" fmla="*/ 26 w 225"/>
                        <a:gd name="T77" fmla="*/ 43 h 178"/>
                        <a:gd name="T78" fmla="*/ 198 w 225"/>
                        <a:gd name="T79" fmla="*/ 89 h 178"/>
                        <a:gd name="T80" fmla="*/ 198 w 225"/>
                        <a:gd name="T81" fmla="*/ 80 h 178"/>
                        <a:gd name="T82" fmla="*/ 202 w 225"/>
                        <a:gd name="T83" fmla="*/ 68 h 178"/>
                        <a:gd name="T84" fmla="*/ 198 w 225"/>
                        <a:gd name="T85" fmla="*/ 35 h 178"/>
                        <a:gd name="T86" fmla="*/ 194 w 225"/>
                        <a:gd name="T87" fmla="*/ 76 h 178"/>
                        <a:gd name="T88" fmla="*/ 194 w 225"/>
                        <a:gd name="T89" fmla="*/ 92 h 178"/>
                        <a:gd name="T90" fmla="*/ 195 w 225"/>
                        <a:gd name="T91" fmla="*/ 169 h 178"/>
                        <a:gd name="T92" fmla="*/ 183 w 225"/>
                        <a:gd name="T93" fmla="*/ 168 h 178"/>
                        <a:gd name="T94" fmla="*/ 173 w 225"/>
                        <a:gd name="T95" fmla="*/ 92 h 178"/>
                        <a:gd name="T96" fmla="*/ 155 w 225"/>
                        <a:gd name="T97" fmla="*/ 169 h 178"/>
                        <a:gd name="T98" fmla="*/ 156 w 225"/>
                        <a:gd name="T99" fmla="*/ 147 h 178"/>
                        <a:gd name="T100" fmla="*/ 159 w 225"/>
                        <a:gd name="T101" fmla="*/ 44 h 178"/>
                        <a:gd name="T102" fmla="*/ 157 w 225"/>
                        <a:gd name="T103" fmla="*/ 24 h 178"/>
                        <a:gd name="T104" fmla="*/ 144 w 225"/>
                        <a:gd name="T105" fmla="*/ 57 h 178"/>
                        <a:gd name="T106" fmla="*/ 117 w 225"/>
                        <a:gd name="T107" fmla="*/ 63 h 178"/>
                        <a:gd name="T108" fmla="*/ 137 w 225"/>
                        <a:gd name="T109" fmla="*/ 47 h 178"/>
                        <a:gd name="T110" fmla="*/ 177 w 225"/>
                        <a:gd name="T111" fmla="*/ 4 h 178"/>
                        <a:gd name="T112" fmla="*/ 218 w 225"/>
                        <a:gd name="T113" fmla="*/ 42 h 178"/>
                        <a:gd name="T114" fmla="*/ 203 w 225"/>
                        <a:gd name="T11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78">
                          <a:moveTo>
                            <a:pt x="222" y="40"/>
                          </a:moveTo>
                          <a:cubicBezTo>
                            <a:pt x="222" y="40"/>
                            <a:pt x="222" y="40"/>
                            <a:pt x="222" y="40"/>
                          </a:cubicBezTo>
                          <a:cubicBezTo>
                            <a:pt x="205" y="13"/>
                            <a:pt x="205" y="13"/>
                            <a:pt x="205" y="13"/>
                          </a:cubicBezTo>
                          <a:cubicBezTo>
                            <a:pt x="199" y="4"/>
                            <a:pt x="195" y="0"/>
                            <a:pt x="177" y="0"/>
                          </a:cubicBezTo>
                          <a:cubicBezTo>
                            <a:pt x="177" y="0"/>
                            <a:pt x="177" y="0"/>
                            <a:pt x="177" y="0"/>
                          </a:cubicBezTo>
                          <a:cubicBezTo>
                            <a:pt x="158" y="0"/>
                            <a:pt x="154" y="8"/>
                            <a:pt x="151" y="13"/>
                          </a:cubicBezTo>
                          <a:cubicBezTo>
                            <a:pt x="151" y="13"/>
                            <a:pt x="151" y="13"/>
                            <a:pt x="151" y="13"/>
                          </a:cubicBezTo>
                          <a:cubicBezTo>
                            <a:pt x="147" y="20"/>
                            <a:pt x="135" y="41"/>
                            <a:pt x="133" y="44"/>
                          </a:cubicBezTo>
                          <a:cubicBezTo>
                            <a:pt x="131" y="46"/>
                            <a:pt x="119" y="55"/>
                            <a:pt x="112" y="60"/>
                          </a:cubicBezTo>
                          <a:cubicBezTo>
                            <a:pt x="107" y="56"/>
                            <a:pt x="98" y="49"/>
                            <a:pt x="92" y="44"/>
                          </a:cubicBezTo>
                          <a:cubicBezTo>
                            <a:pt x="90" y="41"/>
                            <a:pt x="77" y="20"/>
                            <a:pt x="74" y="13"/>
                          </a:cubicBezTo>
                          <a:cubicBezTo>
                            <a:pt x="74" y="13"/>
                            <a:pt x="74" y="13"/>
                            <a:pt x="74" y="13"/>
                          </a:cubicBezTo>
                          <a:cubicBezTo>
                            <a:pt x="71" y="8"/>
                            <a:pt x="66" y="0"/>
                            <a:pt x="48" y="0"/>
                          </a:cubicBezTo>
                          <a:cubicBezTo>
                            <a:pt x="48" y="0"/>
                            <a:pt x="48" y="0"/>
                            <a:pt x="48" y="0"/>
                          </a:cubicBezTo>
                          <a:cubicBezTo>
                            <a:pt x="29" y="0"/>
                            <a:pt x="26" y="4"/>
                            <a:pt x="19" y="13"/>
                          </a:cubicBezTo>
                          <a:cubicBezTo>
                            <a:pt x="2" y="40"/>
                            <a:pt x="2" y="40"/>
                            <a:pt x="2" y="40"/>
                          </a:cubicBezTo>
                          <a:cubicBezTo>
                            <a:pt x="2" y="40"/>
                            <a:pt x="2" y="40"/>
                            <a:pt x="2" y="40"/>
                          </a:cubicBezTo>
                          <a:cubicBezTo>
                            <a:pt x="0" y="44"/>
                            <a:pt x="0" y="49"/>
                            <a:pt x="2" y="54"/>
                          </a:cubicBezTo>
                          <a:cubicBezTo>
                            <a:pt x="17" y="90"/>
                            <a:pt x="17" y="90"/>
                            <a:pt x="17" y="90"/>
                          </a:cubicBezTo>
                          <a:cubicBezTo>
                            <a:pt x="19" y="92"/>
                            <a:pt x="21" y="94"/>
                            <a:pt x="25" y="94"/>
                          </a:cubicBezTo>
                          <a:cubicBezTo>
                            <a:pt x="25" y="94"/>
                            <a:pt x="25" y="94"/>
                            <a:pt x="26" y="94"/>
                          </a:cubicBezTo>
                          <a:cubicBezTo>
                            <a:pt x="25" y="153"/>
                            <a:pt x="25" y="167"/>
                            <a:pt x="25" y="169"/>
                          </a:cubicBezTo>
                          <a:cubicBezTo>
                            <a:pt x="25" y="169"/>
                            <a:pt x="25" y="169"/>
                            <a:pt x="25" y="169"/>
                          </a:cubicBezTo>
                          <a:cubicBezTo>
                            <a:pt x="26" y="174"/>
                            <a:pt x="30" y="178"/>
                            <a:pt x="36" y="178"/>
                          </a:cubicBezTo>
                          <a:cubicBezTo>
                            <a:pt x="41" y="177"/>
                            <a:pt x="46" y="173"/>
                            <a:pt x="46" y="169"/>
                          </a:cubicBezTo>
                          <a:cubicBezTo>
                            <a:pt x="50" y="122"/>
                            <a:pt x="50" y="122"/>
                            <a:pt x="50" y="122"/>
                          </a:cubicBezTo>
                          <a:cubicBezTo>
                            <a:pt x="53" y="169"/>
                            <a:pt x="53" y="169"/>
                            <a:pt x="53" y="169"/>
                          </a:cubicBezTo>
                          <a:cubicBezTo>
                            <a:pt x="54" y="173"/>
                            <a:pt x="58" y="177"/>
                            <a:pt x="63" y="178"/>
                          </a:cubicBezTo>
                          <a:cubicBezTo>
                            <a:pt x="64" y="178"/>
                            <a:pt x="64" y="178"/>
                            <a:pt x="64" y="178"/>
                          </a:cubicBezTo>
                          <a:cubicBezTo>
                            <a:pt x="69" y="178"/>
                            <a:pt x="73" y="174"/>
                            <a:pt x="74" y="169"/>
                          </a:cubicBezTo>
                          <a:cubicBezTo>
                            <a:pt x="74" y="169"/>
                            <a:pt x="74" y="169"/>
                            <a:pt x="74" y="169"/>
                          </a:cubicBezTo>
                          <a:cubicBezTo>
                            <a:pt x="74" y="166"/>
                            <a:pt x="72" y="100"/>
                            <a:pt x="71" y="51"/>
                          </a:cubicBezTo>
                          <a:cubicBezTo>
                            <a:pt x="77" y="60"/>
                            <a:pt x="77" y="60"/>
                            <a:pt x="77" y="60"/>
                          </a:cubicBezTo>
                          <a:cubicBezTo>
                            <a:pt x="77" y="60"/>
                            <a:pt x="78" y="61"/>
                            <a:pt x="78" y="61"/>
                          </a:cubicBezTo>
                          <a:cubicBezTo>
                            <a:pt x="107" y="77"/>
                            <a:pt x="107" y="77"/>
                            <a:pt x="107" y="77"/>
                          </a:cubicBezTo>
                          <a:cubicBezTo>
                            <a:pt x="108" y="78"/>
                            <a:pt x="110" y="78"/>
                            <a:pt x="112" y="78"/>
                          </a:cubicBezTo>
                          <a:cubicBezTo>
                            <a:pt x="113" y="78"/>
                            <a:pt x="113" y="78"/>
                            <a:pt x="114" y="78"/>
                          </a:cubicBezTo>
                          <a:cubicBezTo>
                            <a:pt x="115" y="78"/>
                            <a:pt x="117" y="78"/>
                            <a:pt x="118" y="77"/>
                          </a:cubicBezTo>
                          <a:cubicBezTo>
                            <a:pt x="147" y="61"/>
                            <a:pt x="147" y="61"/>
                            <a:pt x="147" y="61"/>
                          </a:cubicBezTo>
                          <a:cubicBezTo>
                            <a:pt x="147" y="61"/>
                            <a:pt x="147" y="60"/>
                            <a:pt x="147" y="60"/>
                          </a:cubicBezTo>
                          <a:cubicBezTo>
                            <a:pt x="154" y="51"/>
                            <a:pt x="154" y="51"/>
                            <a:pt x="154" y="51"/>
                          </a:cubicBezTo>
                          <a:cubicBezTo>
                            <a:pt x="152" y="100"/>
                            <a:pt x="151" y="166"/>
                            <a:pt x="151" y="169"/>
                          </a:cubicBezTo>
                          <a:cubicBezTo>
                            <a:pt x="151" y="169"/>
                            <a:pt x="151" y="169"/>
                            <a:pt x="151" y="169"/>
                          </a:cubicBezTo>
                          <a:cubicBezTo>
                            <a:pt x="151" y="174"/>
                            <a:pt x="156" y="178"/>
                            <a:pt x="161" y="178"/>
                          </a:cubicBezTo>
                          <a:cubicBezTo>
                            <a:pt x="167" y="177"/>
                            <a:pt x="171" y="173"/>
                            <a:pt x="171" y="169"/>
                          </a:cubicBezTo>
                          <a:cubicBezTo>
                            <a:pt x="175" y="122"/>
                            <a:pt x="175" y="122"/>
                            <a:pt x="175" y="122"/>
                          </a:cubicBezTo>
                          <a:cubicBezTo>
                            <a:pt x="179" y="169"/>
                            <a:pt x="179" y="169"/>
                            <a:pt x="179" y="169"/>
                          </a:cubicBezTo>
                          <a:cubicBezTo>
                            <a:pt x="179" y="173"/>
                            <a:pt x="183" y="177"/>
                            <a:pt x="189" y="178"/>
                          </a:cubicBezTo>
                          <a:cubicBezTo>
                            <a:pt x="189" y="178"/>
                            <a:pt x="189" y="178"/>
                            <a:pt x="189" y="178"/>
                          </a:cubicBezTo>
                          <a:cubicBezTo>
                            <a:pt x="194" y="178"/>
                            <a:pt x="199" y="174"/>
                            <a:pt x="199" y="169"/>
                          </a:cubicBezTo>
                          <a:cubicBezTo>
                            <a:pt x="199" y="169"/>
                            <a:pt x="199" y="169"/>
                            <a:pt x="199" y="169"/>
                          </a:cubicBezTo>
                          <a:cubicBezTo>
                            <a:pt x="199" y="167"/>
                            <a:pt x="199" y="153"/>
                            <a:pt x="199" y="94"/>
                          </a:cubicBezTo>
                          <a:cubicBezTo>
                            <a:pt x="199" y="94"/>
                            <a:pt x="200" y="94"/>
                            <a:pt x="200" y="94"/>
                          </a:cubicBezTo>
                          <a:cubicBezTo>
                            <a:pt x="203" y="94"/>
                            <a:pt x="206" y="92"/>
                            <a:pt x="207" y="90"/>
                          </a:cubicBezTo>
                          <a:cubicBezTo>
                            <a:pt x="223" y="54"/>
                            <a:pt x="223" y="54"/>
                            <a:pt x="223" y="54"/>
                          </a:cubicBezTo>
                          <a:cubicBezTo>
                            <a:pt x="225" y="49"/>
                            <a:pt x="225" y="44"/>
                            <a:pt x="222" y="40"/>
                          </a:cubicBezTo>
                          <a:close/>
                          <a:moveTo>
                            <a:pt x="81" y="57"/>
                          </a:moveTo>
                          <a:cubicBezTo>
                            <a:pt x="71" y="43"/>
                            <a:pt x="71" y="43"/>
                            <a:pt x="71" y="43"/>
                          </a:cubicBezTo>
                          <a:cubicBezTo>
                            <a:pt x="71" y="37"/>
                            <a:pt x="70" y="32"/>
                            <a:pt x="70" y="27"/>
                          </a:cubicBezTo>
                          <a:cubicBezTo>
                            <a:pt x="70" y="25"/>
                            <a:pt x="69" y="24"/>
                            <a:pt x="68" y="24"/>
                          </a:cubicBezTo>
                          <a:cubicBezTo>
                            <a:pt x="68" y="24"/>
                            <a:pt x="68" y="24"/>
                            <a:pt x="68" y="24"/>
                          </a:cubicBezTo>
                          <a:cubicBezTo>
                            <a:pt x="67" y="24"/>
                            <a:pt x="66" y="25"/>
                            <a:pt x="66" y="27"/>
                          </a:cubicBezTo>
                          <a:cubicBezTo>
                            <a:pt x="66" y="27"/>
                            <a:pt x="66" y="33"/>
                            <a:pt x="66" y="44"/>
                          </a:cubicBezTo>
                          <a:cubicBezTo>
                            <a:pt x="66" y="44"/>
                            <a:pt x="66" y="44"/>
                            <a:pt x="66" y="44"/>
                          </a:cubicBezTo>
                          <a:cubicBezTo>
                            <a:pt x="66" y="58"/>
                            <a:pt x="67" y="78"/>
                            <a:pt x="67" y="98"/>
                          </a:cubicBezTo>
                          <a:cubicBezTo>
                            <a:pt x="68" y="116"/>
                            <a:pt x="68" y="133"/>
                            <a:pt x="69" y="147"/>
                          </a:cubicBezTo>
                          <a:cubicBezTo>
                            <a:pt x="69" y="153"/>
                            <a:pt x="69" y="159"/>
                            <a:pt x="69" y="163"/>
                          </a:cubicBezTo>
                          <a:cubicBezTo>
                            <a:pt x="69" y="166"/>
                            <a:pt x="69" y="167"/>
                            <a:pt x="69" y="169"/>
                          </a:cubicBezTo>
                          <a:cubicBezTo>
                            <a:pt x="69" y="169"/>
                            <a:pt x="69" y="169"/>
                            <a:pt x="69" y="169"/>
                          </a:cubicBezTo>
                          <a:cubicBezTo>
                            <a:pt x="69" y="171"/>
                            <a:pt x="67" y="173"/>
                            <a:pt x="64" y="173"/>
                          </a:cubicBezTo>
                          <a:cubicBezTo>
                            <a:pt x="61" y="173"/>
                            <a:pt x="58" y="171"/>
                            <a:pt x="58" y="168"/>
                          </a:cubicBezTo>
                          <a:cubicBezTo>
                            <a:pt x="52" y="92"/>
                            <a:pt x="52" y="92"/>
                            <a:pt x="52" y="92"/>
                          </a:cubicBezTo>
                          <a:cubicBezTo>
                            <a:pt x="52" y="91"/>
                            <a:pt x="51" y="90"/>
                            <a:pt x="50" y="90"/>
                          </a:cubicBezTo>
                          <a:cubicBezTo>
                            <a:pt x="48" y="90"/>
                            <a:pt x="47" y="91"/>
                            <a:pt x="47" y="92"/>
                          </a:cubicBezTo>
                          <a:cubicBezTo>
                            <a:pt x="41" y="168"/>
                            <a:pt x="41" y="168"/>
                            <a:pt x="41" y="168"/>
                          </a:cubicBezTo>
                          <a:cubicBezTo>
                            <a:pt x="41" y="171"/>
                            <a:pt x="39" y="173"/>
                            <a:pt x="36" y="173"/>
                          </a:cubicBezTo>
                          <a:cubicBezTo>
                            <a:pt x="33" y="173"/>
                            <a:pt x="30" y="171"/>
                            <a:pt x="30" y="169"/>
                          </a:cubicBezTo>
                          <a:cubicBezTo>
                            <a:pt x="30" y="169"/>
                            <a:pt x="30" y="169"/>
                            <a:pt x="30" y="169"/>
                          </a:cubicBezTo>
                          <a:cubicBezTo>
                            <a:pt x="30" y="167"/>
                            <a:pt x="30" y="165"/>
                            <a:pt x="30" y="162"/>
                          </a:cubicBezTo>
                          <a:cubicBezTo>
                            <a:pt x="30" y="157"/>
                            <a:pt x="30" y="151"/>
                            <a:pt x="30" y="144"/>
                          </a:cubicBezTo>
                          <a:cubicBezTo>
                            <a:pt x="30" y="129"/>
                            <a:pt x="30" y="110"/>
                            <a:pt x="31" y="92"/>
                          </a:cubicBezTo>
                          <a:cubicBezTo>
                            <a:pt x="33" y="90"/>
                            <a:pt x="34" y="87"/>
                            <a:pt x="33" y="84"/>
                          </a:cubicBezTo>
                          <a:cubicBezTo>
                            <a:pt x="33" y="84"/>
                            <a:pt x="33" y="84"/>
                            <a:pt x="33" y="83"/>
                          </a:cubicBezTo>
                          <a:cubicBezTo>
                            <a:pt x="33" y="83"/>
                            <a:pt x="32" y="80"/>
                            <a:pt x="31" y="76"/>
                          </a:cubicBezTo>
                          <a:cubicBezTo>
                            <a:pt x="31" y="50"/>
                            <a:pt x="31" y="36"/>
                            <a:pt x="31" y="36"/>
                          </a:cubicBezTo>
                          <a:cubicBezTo>
                            <a:pt x="31" y="35"/>
                            <a:pt x="30" y="34"/>
                            <a:pt x="29" y="34"/>
                          </a:cubicBezTo>
                          <a:cubicBezTo>
                            <a:pt x="28" y="34"/>
                            <a:pt x="27" y="34"/>
                            <a:pt x="27" y="35"/>
                          </a:cubicBezTo>
                          <a:cubicBezTo>
                            <a:pt x="17" y="48"/>
                            <a:pt x="17" y="48"/>
                            <a:pt x="17" y="48"/>
                          </a:cubicBezTo>
                          <a:cubicBezTo>
                            <a:pt x="17" y="48"/>
                            <a:pt x="17" y="49"/>
                            <a:pt x="17" y="50"/>
                          </a:cubicBezTo>
                          <a:cubicBezTo>
                            <a:pt x="17" y="50"/>
                            <a:pt x="20" y="59"/>
                            <a:pt x="23" y="68"/>
                          </a:cubicBezTo>
                          <a:cubicBezTo>
                            <a:pt x="24" y="71"/>
                            <a:pt x="25" y="74"/>
                            <a:pt x="26" y="77"/>
                          </a:cubicBezTo>
                          <a:cubicBezTo>
                            <a:pt x="26" y="77"/>
                            <a:pt x="26" y="77"/>
                            <a:pt x="26" y="77"/>
                          </a:cubicBezTo>
                          <a:cubicBezTo>
                            <a:pt x="26" y="78"/>
                            <a:pt x="27" y="79"/>
                            <a:pt x="27" y="80"/>
                          </a:cubicBezTo>
                          <a:cubicBezTo>
                            <a:pt x="28" y="82"/>
                            <a:pt x="28" y="84"/>
                            <a:pt x="29" y="85"/>
                          </a:cubicBezTo>
                          <a:cubicBezTo>
                            <a:pt x="29" y="85"/>
                            <a:pt x="29" y="85"/>
                            <a:pt x="29" y="85"/>
                          </a:cubicBezTo>
                          <a:cubicBezTo>
                            <a:pt x="29" y="87"/>
                            <a:pt x="28" y="88"/>
                            <a:pt x="26" y="89"/>
                          </a:cubicBezTo>
                          <a:cubicBezTo>
                            <a:pt x="24" y="90"/>
                            <a:pt x="22" y="89"/>
                            <a:pt x="21" y="88"/>
                          </a:cubicBezTo>
                          <a:cubicBezTo>
                            <a:pt x="6" y="52"/>
                            <a:pt x="6" y="52"/>
                            <a:pt x="6" y="52"/>
                          </a:cubicBezTo>
                          <a:cubicBezTo>
                            <a:pt x="5" y="49"/>
                            <a:pt x="5" y="45"/>
                            <a:pt x="6" y="42"/>
                          </a:cubicBezTo>
                          <a:cubicBezTo>
                            <a:pt x="23" y="16"/>
                            <a:pt x="23" y="16"/>
                            <a:pt x="23" y="16"/>
                          </a:cubicBezTo>
                          <a:cubicBezTo>
                            <a:pt x="29" y="8"/>
                            <a:pt x="31" y="4"/>
                            <a:pt x="48" y="4"/>
                          </a:cubicBezTo>
                          <a:cubicBezTo>
                            <a:pt x="48" y="4"/>
                            <a:pt x="48" y="4"/>
                            <a:pt x="48" y="4"/>
                          </a:cubicBezTo>
                          <a:cubicBezTo>
                            <a:pt x="64" y="4"/>
                            <a:pt x="67" y="11"/>
                            <a:pt x="69" y="15"/>
                          </a:cubicBezTo>
                          <a:cubicBezTo>
                            <a:pt x="70" y="15"/>
                            <a:pt x="70" y="15"/>
                            <a:pt x="70" y="15"/>
                          </a:cubicBezTo>
                          <a:cubicBezTo>
                            <a:pt x="74" y="22"/>
                            <a:pt x="88" y="47"/>
                            <a:pt x="88" y="47"/>
                          </a:cubicBezTo>
                          <a:cubicBezTo>
                            <a:pt x="88" y="47"/>
                            <a:pt x="88" y="47"/>
                            <a:pt x="88" y="47"/>
                          </a:cubicBezTo>
                          <a:cubicBezTo>
                            <a:pt x="88" y="47"/>
                            <a:pt x="95" y="52"/>
                            <a:pt x="101" y="57"/>
                          </a:cubicBezTo>
                          <a:cubicBezTo>
                            <a:pt x="104" y="60"/>
                            <a:pt x="108" y="62"/>
                            <a:pt x="110" y="64"/>
                          </a:cubicBezTo>
                          <a:cubicBezTo>
                            <a:pt x="112" y="65"/>
                            <a:pt x="113" y="66"/>
                            <a:pt x="114" y="67"/>
                          </a:cubicBezTo>
                          <a:cubicBezTo>
                            <a:pt x="114" y="67"/>
                            <a:pt x="114" y="67"/>
                            <a:pt x="114" y="67"/>
                          </a:cubicBezTo>
                          <a:cubicBezTo>
                            <a:pt x="115" y="68"/>
                            <a:pt x="115" y="70"/>
                            <a:pt x="114" y="72"/>
                          </a:cubicBezTo>
                          <a:cubicBezTo>
                            <a:pt x="113" y="73"/>
                            <a:pt x="111" y="74"/>
                            <a:pt x="109" y="73"/>
                          </a:cubicBezTo>
                          <a:lnTo>
                            <a:pt x="81" y="57"/>
                          </a:lnTo>
                          <a:close/>
                          <a:moveTo>
                            <a:pt x="26" y="43"/>
                          </a:moveTo>
                          <a:cubicBezTo>
                            <a:pt x="26" y="48"/>
                            <a:pt x="26" y="54"/>
                            <a:pt x="26" y="63"/>
                          </a:cubicBezTo>
                          <a:cubicBezTo>
                            <a:pt x="25" y="58"/>
                            <a:pt x="23" y="54"/>
                            <a:pt x="22" y="50"/>
                          </a:cubicBezTo>
                          <a:lnTo>
                            <a:pt x="26" y="43"/>
                          </a:lnTo>
                          <a:close/>
                          <a:moveTo>
                            <a:pt x="219" y="52"/>
                          </a:moveTo>
                          <a:cubicBezTo>
                            <a:pt x="203" y="88"/>
                            <a:pt x="203" y="88"/>
                            <a:pt x="203" y="88"/>
                          </a:cubicBezTo>
                          <a:cubicBezTo>
                            <a:pt x="202" y="89"/>
                            <a:pt x="200" y="90"/>
                            <a:pt x="198" y="89"/>
                          </a:cubicBezTo>
                          <a:cubicBezTo>
                            <a:pt x="196" y="88"/>
                            <a:pt x="195" y="87"/>
                            <a:pt x="196" y="85"/>
                          </a:cubicBezTo>
                          <a:cubicBezTo>
                            <a:pt x="196" y="85"/>
                            <a:pt x="196" y="85"/>
                            <a:pt x="196" y="85"/>
                          </a:cubicBezTo>
                          <a:cubicBezTo>
                            <a:pt x="196" y="84"/>
                            <a:pt x="197" y="82"/>
                            <a:pt x="198" y="80"/>
                          </a:cubicBezTo>
                          <a:cubicBezTo>
                            <a:pt x="198" y="79"/>
                            <a:pt x="198" y="78"/>
                            <a:pt x="198" y="77"/>
                          </a:cubicBezTo>
                          <a:cubicBezTo>
                            <a:pt x="198" y="77"/>
                            <a:pt x="198" y="77"/>
                            <a:pt x="198" y="77"/>
                          </a:cubicBezTo>
                          <a:cubicBezTo>
                            <a:pt x="199" y="74"/>
                            <a:pt x="201" y="71"/>
                            <a:pt x="202" y="68"/>
                          </a:cubicBezTo>
                          <a:cubicBezTo>
                            <a:pt x="205" y="59"/>
                            <a:pt x="208" y="50"/>
                            <a:pt x="208" y="50"/>
                          </a:cubicBezTo>
                          <a:cubicBezTo>
                            <a:pt x="208" y="49"/>
                            <a:pt x="208" y="48"/>
                            <a:pt x="207" y="48"/>
                          </a:cubicBezTo>
                          <a:cubicBezTo>
                            <a:pt x="198" y="35"/>
                            <a:pt x="198" y="35"/>
                            <a:pt x="198" y="35"/>
                          </a:cubicBezTo>
                          <a:cubicBezTo>
                            <a:pt x="197" y="34"/>
                            <a:pt x="196" y="34"/>
                            <a:pt x="195" y="34"/>
                          </a:cubicBezTo>
                          <a:cubicBezTo>
                            <a:pt x="194" y="34"/>
                            <a:pt x="194" y="35"/>
                            <a:pt x="194" y="36"/>
                          </a:cubicBezTo>
                          <a:cubicBezTo>
                            <a:pt x="194" y="36"/>
                            <a:pt x="194" y="50"/>
                            <a:pt x="194" y="76"/>
                          </a:cubicBezTo>
                          <a:cubicBezTo>
                            <a:pt x="193" y="80"/>
                            <a:pt x="192" y="83"/>
                            <a:pt x="191" y="83"/>
                          </a:cubicBezTo>
                          <a:cubicBezTo>
                            <a:pt x="191" y="84"/>
                            <a:pt x="191" y="84"/>
                            <a:pt x="191" y="84"/>
                          </a:cubicBezTo>
                          <a:cubicBezTo>
                            <a:pt x="190" y="87"/>
                            <a:pt x="192" y="90"/>
                            <a:pt x="194" y="92"/>
                          </a:cubicBezTo>
                          <a:cubicBezTo>
                            <a:pt x="194" y="110"/>
                            <a:pt x="194" y="129"/>
                            <a:pt x="194" y="144"/>
                          </a:cubicBezTo>
                          <a:cubicBezTo>
                            <a:pt x="194" y="151"/>
                            <a:pt x="195" y="157"/>
                            <a:pt x="195" y="162"/>
                          </a:cubicBezTo>
                          <a:cubicBezTo>
                            <a:pt x="195" y="165"/>
                            <a:pt x="195" y="167"/>
                            <a:pt x="195" y="169"/>
                          </a:cubicBezTo>
                          <a:cubicBezTo>
                            <a:pt x="195" y="169"/>
                            <a:pt x="195" y="169"/>
                            <a:pt x="195" y="169"/>
                          </a:cubicBezTo>
                          <a:cubicBezTo>
                            <a:pt x="194" y="171"/>
                            <a:pt x="192" y="173"/>
                            <a:pt x="189" y="173"/>
                          </a:cubicBezTo>
                          <a:cubicBezTo>
                            <a:pt x="186" y="173"/>
                            <a:pt x="183" y="171"/>
                            <a:pt x="183" y="168"/>
                          </a:cubicBezTo>
                          <a:cubicBezTo>
                            <a:pt x="177" y="92"/>
                            <a:pt x="177" y="92"/>
                            <a:pt x="177" y="92"/>
                          </a:cubicBezTo>
                          <a:cubicBezTo>
                            <a:pt x="177" y="91"/>
                            <a:pt x="176" y="90"/>
                            <a:pt x="175" y="90"/>
                          </a:cubicBezTo>
                          <a:cubicBezTo>
                            <a:pt x="174" y="90"/>
                            <a:pt x="173" y="91"/>
                            <a:pt x="173" y="92"/>
                          </a:cubicBezTo>
                          <a:cubicBezTo>
                            <a:pt x="167" y="168"/>
                            <a:pt x="167" y="168"/>
                            <a:pt x="167" y="168"/>
                          </a:cubicBezTo>
                          <a:cubicBezTo>
                            <a:pt x="166" y="171"/>
                            <a:pt x="164" y="173"/>
                            <a:pt x="161" y="173"/>
                          </a:cubicBezTo>
                          <a:cubicBezTo>
                            <a:pt x="158" y="173"/>
                            <a:pt x="155" y="171"/>
                            <a:pt x="155" y="169"/>
                          </a:cubicBezTo>
                          <a:cubicBezTo>
                            <a:pt x="155" y="169"/>
                            <a:pt x="155" y="169"/>
                            <a:pt x="155" y="169"/>
                          </a:cubicBezTo>
                          <a:cubicBezTo>
                            <a:pt x="155" y="167"/>
                            <a:pt x="155" y="166"/>
                            <a:pt x="155" y="163"/>
                          </a:cubicBezTo>
                          <a:cubicBezTo>
                            <a:pt x="156" y="159"/>
                            <a:pt x="156" y="153"/>
                            <a:pt x="156" y="147"/>
                          </a:cubicBezTo>
                          <a:cubicBezTo>
                            <a:pt x="156" y="133"/>
                            <a:pt x="157" y="116"/>
                            <a:pt x="157" y="98"/>
                          </a:cubicBezTo>
                          <a:cubicBezTo>
                            <a:pt x="158" y="78"/>
                            <a:pt x="158" y="58"/>
                            <a:pt x="159" y="44"/>
                          </a:cubicBezTo>
                          <a:cubicBezTo>
                            <a:pt x="159" y="44"/>
                            <a:pt x="159" y="44"/>
                            <a:pt x="159" y="44"/>
                          </a:cubicBezTo>
                          <a:cubicBezTo>
                            <a:pt x="159" y="33"/>
                            <a:pt x="159" y="27"/>
                            <a:pt x="159" y="27"/>
                          </a:cubicBezTo>
                          <a:cubicBezTo>
                            <a:pt x="159" y="25"/>
                            <a:pt x="158" y="24"/>
                            <a:pt x="157" y="24"/>
                          </a:cubicBezTo>
                          <a:cubicBezTo>
                            <a:pt x="157" y="24"/>
                            <a:pt x="157" y="24"/>
                            <a:pt x="157" y="24"/>
                          </a:cubicBezTo>
                          <a:cubicBezTo>
                            <a:pt x="155" y="24"/>
                            <a:pt x="154" y="25"/>
                            <a:pt x="154" y="27"/>
                          </a:cubicBezTo>
                          <a:cubicBezTo>
                            <a:pt x="154" y="32"/>
                            <a:pt x="154" y="37"/>
                            <a:pt x="154" y="43"/>
                          </a:cubicBezTo>
                          <a:cubicBezTo>
                            <a:pt x="144" y="57"/>
                            <a:pt x="144" y="57"/>
                            <a:pt x="144" y="57"/>
                          </a:cubicBezTo>
                          <a:cubicBezTo>
                            <a:pt x="119" y="71"/>
                            <a:pt x="119" y="71"/>
                            <a:pt x="119" y="71"/>
                          </a:cubicBezTo>
                          <a:cubicBezTo>
                            <a:pt x="120" y="68"/>
                            <a:pt x="119" y="65"/>
                            <a:pt x="117" y="63"/>
                          </a:cubicBezTo>
                          <a:cubicBezTo>
                            <a:pt x="117" y="63"/>
                            <a:pt x="117" y="63"/>
                            <a:pt x="117" y="63"/>
                          </a:cubicBezTo>
                          <a:cubicBezTo>
                            <a:pt x="117" y="63"/>
                            <a:pt x="116" y="63"/>
                            <a:pt x="116" y="63"/>
                          </a:cubicBezTo>
                          <a:cubicBezTo>
                            <a:pt x="124" y="57"/>
                            <a:pt x="136" y="47"/>
                            <a:pt x="136" y="47"/>
                          </a:cubicBezTo>
                          <a:cubicBezTo>
                            <a:pt x="136" y="47"/>
                            <a:pt x="137" y="47"/>
                            <a:pt x="137" y="47"/>
                          </a:cubicBezTo>
                          <a:cubicBezTo>
                            <a:pt x="137" y="47"/>
                            <a:pt x="151" y="22"/>
                            <a:pt x="155" y="15"/>
                          </a:cubicBezTo>
                          <a:cubicBezTo>
                            <a:pt x="155" y="15"/>
                            <a:pt x="155" y="15"/>
                            <a:pt x="155" y="15"/>
                          </a:cubicBezTo>
                          <a:cubicBezTo>
                            <a:pt x="157" y="11"/>
                            <a:pt x="161" y="4"/>
                            <a:pt x="177" y="4"/>
                          </a:cubicBezTo>
                          <a:cubicBezTo>
                            <a:pt x="177" y="4"/>
                            <a:pt x="177" y="4"/>
                            <a:pt x="177" y="4"/>
                          </a:cubicBezTo>
                          <a:cubicBezTo>
                            <a:pt x="194" y="4"/>
                            <a:pt x="196" y="8"/>
                            <a:pt x="201" y="16"/>
                          </a:cubicBezTo>
                          <a:cubicBezTo>
                            <a:pt x="218" y="42"/>
                            <a:pt x="218" y="42"/>
                            <a:pt x="218" y="42"/>
                          </a:cubicBezTo>
                          <a:cubicBezTo>
                            <a:pt x="220" y="45"/>
                            <a:pt x="220" y="49"/>
                            <a:pt x="219" y="52"/>
                          </a:cubicBezTo>
                          <a:close/>
                          <a:moveTo>
                            <a:pt x="198" y="43"/>
                          </a:moveTo>
                          <a:cubicBezTo>
                            <a:pt x="203" y="50"/>
                            <a:pt x="203" y="50"/>
                            <a:pt x="203" y="50"/>
                          </a:cubicBezTo>
                          <a:cubicBezTo>
                            <a:pt x="202" y="54"/>
                            <a:pt x="200" y="58"/>
                            <a:pt x="198" y="63"/>
                          </a:cubicBezTo>
                          <a:cubicBezTo>
                            <a:pt x="198" y="54"/>
                            <a:pt x="198" y="48"/>
                            <a:pt x="198" y="4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grpSp>
            <p:grpSp>
              <p:nvGrpSpPr>
                <p:cNvPr id="159" name="íS1ïdé"/>
                <p:cNvGrpSpPr>
                  <a:grpSpLocks noChangeAspect="1"/>
                </p:cNvGrpSpPr>
                <p:nvPr/>
              </p:nvGrpSpPr>
              <p:grpSpPr bwMode="auto">
                <a:xfrm>
                  <a:off x="3222154" y="4523808"/>
                  <a:ext cx="901700" cy="901700"/>
                  <a:chOff x="1544" y="1525"/>
                  <a:chExt cx="426" cy="426"/>
                </a:xfrm>
              </p:grpSpPr>
              <p:sp>
                <p:nvSpPr>
                  <p:cNvPr id="175" name="îṣľiḍé"/>
                  <p:cNvSpPr/>
                  <p:nvPr/>
                </p:nvSpPr>
                <p:spPr bwMode="auto">
                  <a:xfrm>
                    <a:off x="1544" y="1525"/>
                    <a:ext cx="426" cy="426"/>
                  </a:xfrm>
                  <a:prstGeom prst="ellipse">
                    <a:avLst/>
                  </a:prstGeom>
                  <a:solidFill>
                    <a:srgbClr val="4F81B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76" name="ïs1ïďè"/>
                  <p:cNvSpPr/>
                  <p:nvPr/>
                </p:nvSpPr>
                <p:spPr bwMode="auto">
                  <a:xfrm>
                    <a:off x="1672" y="1606"/>
                    <a:ext cx="60" cy="264"/>
                  </a:xfrm>
                  <a:custGeom>
                    <a:avLst/>
                    <a:gdLst>
                      <a:gd name="T0" fmla="*/ 50 w 50"/>
                      <a:gd name="T1" fmla="*/ 173 h 220"/>
                      <a:gd name="T2" fmla="*/ 36 w 50"/>
                      <a:gd name="T3" fmla="*/ 0 h 220"/>
                      <a:gd name="T4" fmla="*/ 0 w 50"/>
                      <a:gd name="T5" fmla="*/ 14 h 220"/>
                      <a:gd name="T6" fmla="*/ 0 w 50"/>
                      <a:gd name="T7" fmla="*/ 173 h 220"/>
                      <a:gd name="T8" fmla="*/ 0 w 50"/>
                      <a:gd name="T9" fmla="*/ 173 h 220"/>
                      <a:gd name="T10" fmla="*/ 0 w 50"/>
                      <a:gd name="T11" fmla="*/ 174 h 220"/>
                      <a:gd name="T12" fmla="*/ 0 w 50"/>
                      <a:gd name="T13" fmla="*/ 174 h 220"/>
                      <a:gd name="T14" fmla="*/ 25 w 50"/>
                      <a:gd name="T15" fmla="*/ 220 h 220"/>
                      <a:gd name="T16" fmla="*/ 50 w 50"/>
                      <a:gd name="T17" fmla="*/ 174 h 220"/>
                      <a:gd name="T18" fmla="*/ 50 w 50"/>
                      <a:gd name="T19" fmla="*/ 174 h 220"/>
                      <a:gd name="T20" fmla="*/ 50 w 50"/>
                      <a:gd name="T21" fmla="*/ 174 h 220"/>
                      <a:gd name="T22" fmla="*/ 31 w 50"/>
                      <a:gd name="T23" fmla="*/ 201 h 220"/>
                      <a:gd name="T24" fmla="*/ 7 w 50"/>
                      <a:gd name="T25" fmla="*/ 177 h 220"/>
                      <a:gd name="T26" fmla="*/ 16 w 50"/>
                      <a:gd name="T27" fmla="*/ 177 h 220"/>
                      <a:gd name="T28" fmla="*/ 18 w 50"/>
                      <a:gd name="T29" fmla="*/ 177 h 220"/>
                      <a:gd name="T30" fmla="*/ 44 w 50"/>
                      <a:gd name="T31" fmla="*/ 175 h 220"/>
                      <a:gd name="T32" fmla="*/ 45 w 50"/>
                      <a:gd name="T33" fmla="*/ 53 h 220"/>
                      <a:gd name="T34" fmla="*/ 4 w 50"/>
                      <a:gd name="T35" fmla="*/ 34 h 220"/>
                      <a:gd name="T36" fmla="*/ 45 w 50"/>
                      <a:gd name="T37" fmla="*/ 53 h 220"/>
                      <a:gd name="T38" fmla="*/ 19 w 50"/>
                      <a:gd name="T39" fmla="*/ 172 h 220"/>
                      <a:gd name="T40" fmla="*/ 31 w 50"/>
                      <a:gd name="T41" fmla="*/ 58 h 220"/>
                      <a:gd name="T42" fmla="*/ 23 w 50"/>
                      <a:gd name="T43" fmla="*/ 171 h 220"/>
                      <a:gd name="T44" fmla="*/ 4 w 50"/>
                      <a:gd name="T45" fmla="*/ 58 h 220"/>
                      <a:gd name="T46" fmla="*/ 14 w 50"/>
                      <a:gd name="T47" fmla="*/ 173 h 220"/>
                      <a:gd name="T48" fmla="*/ 36 w 50"/>
                      <a:gd name="T49" fmla="*/ 169 h 220"/>
                      <a:gd name="T50" fmla="*/ 45 w 50"/>
                      <a:gd name="T51" fmla="*/ 58 h 220"/>
                      <a:gd name="T52" fmla="*/ 36 w 50"/>
                      <a:gd name="T53" fmla="*/ 169 h 220"/>
                      <a:gd name="T54" fmla="*/ 36 w 50"/>
                      <a:gd name="T55" fmla="*/ 5 h 220"/>
                      <a:gd name="T56" fmla="*/ 45 w 50"/>
                      <a:gd name="T57" fmla="*/ 29 h 220"/>
                      <a:gd name="T58" fmla="*/ 4 w 50"/>
                      <a:gd name="T59" fmla="*/ 14 h 220"/>
                      <a:gd name="T60" fmla="*/ 22 w 50"/>
                      <a:gd name="T61" fmla="*/ 206 h 220"/>
                      <a:gd name="T62" fmla="*/ 25 w 50"/>
                      <a:gd name="T63" fmla="*/ 21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220">
                        <a:moveTo>
                          <a:pt x="50" y="173"/>
                        </a:moveTo>
                        <a:cubicBezTo>
                          <a:pt x="50" y="173"/>
                          <a:pt x="50" y="173"/>
                          <a:pt x="50" y="173"/>
                        </a:cubicBezTo>
                        <a:cubicBezTo>
                          <a:pt x="50" y="14"/>
                          <a:pt x="50" y="14"/>
                          <a:pt x="50" y="14"/>
                        </a:cubicBezTo>
                        <a:cubicBezTo>
                          <a:pt x="50" y="6"/>
                          <a:pt x="44" y="0"/>
                          <a:pt x="36" y="0"/>
                        </a:cubicBezTo>
                        <a:cubicBezTo>
                          <a:pt x="13" y="0"/>
                          <a:pt x="13" y="0"/>
                          <a:pt x="13" y="0"/>
                        </a:cubicBezTo>
                        <a:cubicBezTo>
                          <a:pt x="6" y="0"/>
                          <a:pt x="0" y="6"/>
                          <a:pt x="0" y="14"/>
                        </a:cubicBezTo>
                        <a:cubicBezTo>
                          <a:pt x="0" y="173"/>
                          <a:pt x="0" y="173"/>
                          <a:pt x="0" y="173"/>
                        </a:cubicBezTo>
                        <a:cubicBezTo>
                          <a:pt x="0" y="173"/>
                          <a:pt x="0" y="173"/>
                          <a:pt x="0" y="173"/>
                        </a:cubicBezTo>
                        <a:cubicBezTo>
                          <a:pt x="0" y="173"/>
                          <a:pt x="0" y="173"/>
                          <a:pt x="0" y="173"/>
                        </a:cubicBezTo>
                        <a:cubicBezTo>
                          <a:pt x="0" y="173"/>
                          <a:pt x="0" y="173"/>
                          <a:pt x="0" y="173"/>
                        </a:cubicBezTo>
                        <a:cubicBezTo>
                          <a:pt x="0" y="174"/>
                          <a:pt x="0" y="174"/>
                          <a:pt x="0" y="174"/>
                        </a:cubicBezTo>
                        <a:cubicBezTo>
                          <a:pt x="0" y="174"/>
                          <a:pt x="0" y="174"/>
                          <a:pt x="0" y="174"/>
                        </a:cubicBezTo>
                        <a:cubicBezTo>
                          <a:pt x="0" y="174"/>
                          <a:pt x="0" y="174"/>
                          <a:pt x="0" y="174"/>
                        </a:cubicBezTo>
                        <a:cubicBezTo>
                          <a:pt x="0" y="174"/>
                          <a:pt x="0" y="174"/>
                          <a:pt x="0" y="174"/>
                        </a:cubicBezTo>
                        <a:cubicBezTo>
                          <a:pt x="23" y="218"/>
                          <a:pt x="23" y="218"/>
                          <a:pt x="23" y="218"/>
                        </a:cubicBezTo>
                        <a:cubicBezTo>
                          <a:pt x="23" y="219"/>
                          <a:pt x="24" y="220"/>
                          <a:pt x="25" y="220"/>
                        </a:cubicBezTo>
                        <a:cubicBezTo>
                          <a:pt x="26" y="220"/>
                          <a:pt x="27" y="219"/>
                          <a:pt x="27" y="218"/>
                        </a:cubicBezTo>
                        <a:cubicBezTo>
                          <a:pt x="50" y="174"/>
                          <a:pt x="50" y="174"/>
                          <a:pt x="50" y="174"/>
                        </a:cubicBezTo>
                        <a:cubicBezTo>
                          <a:pt x="50" y="174"/>
                          <a:pt x="50" y="174"/>
                          <a:pt x="50" y="174"/>
                        </a:cubicBezTo>
                        <a:cubicBezTo>
                          <a:pt x="50" y="174"/>
                          <a:pt x="50" y="174"/>
                          <a:pt x="50" y="174"/>
                        </a:cubicBezTo>
                        <a:cubicBezTo>
                          <a:pt x="50" y="174"/>
                          <a:pt x="50" y="174"/>
                          <a:pt x="50" y="174"/>
                        </a:cubicBezTo>
                        <a:cubicBezTo>
                          <a:pt x="50" y="174"/>
                          <a:pt x="50" y="174"/>
                          <a:pt x="50" y="174"/>
                        </a:cubicBezTo>
                        <a:cubicBezTo>
                          <a:pt x="50" y="174"/>
                          <a:pt x="50" y="174"/>
                          <a:pt x="50" y="173"/>
                        </a:cubicBezTo>
                        <a:close/>
                        <a:moveTo>
                          <a:pt x="31" y="201"/>
                        </a:moveTo>
                        <a:cubicBezTo>
                          <a:pt x="19" y="201"/>
                          <a:pt x="19" y="201"/>
                          <a:pt x="19" y="201"/>
                        </a:cubicBezTo>
                        <a:cubicBezTo>
                          <a:pt x="7" y="177"/>
                          <a:pt x="7" y="177"/>
                          <a:pt x="7" y="177"/>
                        </a:cubicBezTo>
                        <a:cubicBezTo>
                          <a:pt x="8" y="177"/>
                          <a:pt x="9" y="177"/>
                          <a:pt x="11" y="177"/>
                        </a:cubicBezTo>
                        <a:cubicBezTo>
                          <a:pt x="13" y="177"/>
                          <a:pt x="14" y="177"/>
                          <a:pt x="16" y="177"/>
                        </a:cubicBezTo>
                        <a:cubicBezTo>
                          <a:pt x="16" y="177"/>
                          <a:pt x="16" y="177"/>
                          <a:pt x="17" y="177"/>
                        </a:cubicBezTo>
                        <a:cubicBezTo>
                          <a:pt x="17" y="177"/>
                          <a:pt x="17" y="177"/>
                          <a:pt x="18" y="177"/>
                        </a:cubicBezTo>
                        <a:cubicBezTo>
                          <a:pt x="20" y="176"/>
                          <a:pt x="22" y="176"/>
                          <a:pt x="24" y="176"/>
                        </a:cubicBezTo>
                        <a:cubicBezTo>
                          <a:pt x="31" y="174"/>
                          <a:pt x="38" y="173"/>
                          <a:pt x="44" y="175"/>
                        </a:cubicBezTo>
                        <a:lnTo>
                          <a:pt x="31" y="201"/>
                        </a:lnTo>
                        <a:close/>
                        <a:moveTo>
                          <a:pt x="45" y="53"/>
                        </a:moveTo>
                        <a:cubicBezTo>
                          <a:pt x="4" y="53"/>
                          <a:pt x="4" y="53"/>
                          <a:pt x="4" y="53"/>
                        </a:cubicBezTo>
                        <a:cubicBezTo>
                          <a:pt x="4" y="34"/>
                          <a:pt x="4" y="34"/>
                          <a:pt x="4" y="34"/>
                        </a:cubicBezTo>
                        <a:cubicBezTo>
                          <a:pt x="45" y="34"/>
                          <a:pt x="45" y="34"/>
                          <a:pt x="45" y="34"/>
                        </a:cubicBezTo>
                        <a:lnTo>
                          <a:pt x="45" y="53"/>
                        </a:lnTo>
                        <a:close/>
                        <a:moveTo>
                          <a:pt x="23" y="171"/>
                        </a:moveTo>
                        <a:cubicBezTo>
                          <a:pt x="22" y="171"/>
                          <a:pt x="20" y="172"/>
                          <a:pt x="19" y="172"/>
                        </a:cubicBezTo>
                        <a:cubicBezTo>
                          <a:pt x="19" y="58"/>
                          <a:pt x="19" y="58"/>
                          <a:pt x="19" y="58"/>
                        </a:cubicBezTo>
                        <a:cubicBezTo>
                          <a:pt x="31" y="58"/>
                          <a:pt x="31" y="58"/>
                          <a:pt x="31" y="58"/>
                        </a:cubicBezTo>
                        <a:cubicBezTo>
                          <a:pt x="31" y="169"/>
                          <a:pt x="31" y="169"/>
                          <a:pt x="31" y="169"/>
                        </a:cubicBezTo>
                        <a:cubicBezTo>
                          <a:pt x="28" y="170"/>
                          <a:pt x="26" y="170"/>
                          <a:pt x="23" y="171"/>
                        </a:cubicBezTo>
                        <a:close/>
                        <a:moveTo>
                          <a:pt x="4" y="172"/>
                        </a:moveTo>
                        <a:cubicBezTo>
                          <a:pt x="4" y="58"/>
                          <a:pt x="4" y="58"/>
                          <a:pt x="4" y="58"/>
                        </a:cubicBezTo>
                        <a:cubicBezTo>
                          <a:pt x="14" y="58"/>
                          <a:pt x="14" y="58"/>
                          <a:pt x="14" y="58"/>
                        </a:cubicBezTo>
                        <a:cubicBezTo>
                          <a:pt x="14" y="173"/>
                          <a:pt x="14" y="173"/>
                          <a:pt x="14" y="173"/>
                        </a:cubicBezTo>
                        <a:cubicBezTo>
                          <a:pt x="11" y="173"/>
                          <a:pt x="7" y="173"/>
                          <a:pt x="4" y="172"/>
                        </a:cubicBezTo>
                        <a:close/>
                        <a:moveTo>
                          <a:pt x="36" y="169"/>
                        </a:moveTo>
                        <a:cubicBezTo>
                          <a:pt x="36" y="58"/>
                          <a:pt x="36" y="58"/>
                          <a:pt x="36" y="58"/>
                        </a:cubicBezTo>
                        <a:cubicBezTo>
                          <a:pt x="45" y="58"/>
                          <a:pt x="45" y="58"/>
                          <a:pt x="45" y="58"/>
                        </a:cubicBezTo>
                        <a:cubicBezTo>
                          <a:pt x="45" y="170"/>
                          <a:pt x="45" y="170"/>
                          <a:pt x="45" y="170"/>
                        </a:cubicBezTo>
                        <a:cubicBezTo>
                          <a:pt x="42" y="169"/>
                          <a:pt x="39" y="169"/>
                          <a:pt x="36" y="169"/>
                        </a:cubicBezTo>
                        <a:close/>
                        <a:moveTo>
                          <a:pt x="13" y="5"/>
                        </a:moveTo>
                        <a:cubicBezTo>
                          <a:pt x="36" y="5"/>
                          <a:pt x="36" y="5"/>
                          <a:pt x="36" y="5"/>
                        </a:cubicBezTo>
                        <a:cubicBezTo>
                          <a:pt x="41" y="5"/>
                          <a:pt x="45" y="9"/>
                          <a:pt x="45" y="14"/>
                        </a:cubicBezTo>
                        <a:cubicBezTo>
                          <a:pt x="45" y="29"/>
                          <a:pt x="45" y="29"/>
                          <a:pt x="45" y="29"/>
                        </a:cubicBezTo>
                        <a:cubicBezTo>
                          <a:pt x="4" y="29"/>
                          <a:pt x="4" y="29"/>
                          <a:pt x="4" y="29"/>
                        </a:cubicBezTo>
                        <a:cubicBezTo>
                          <a:pt x="4" y="14"/>
                          <a:pt x="4" y="14"/>
                          <a:pt x="4" y="14"/>
                        </a:cubicBezTo>
                        <a:cubicBezTo>
                          <a:pt x="4" y="9"/>
                          <a:pt x="8" y="5"/>
                          <a:pt x="13" y="5"/>
                        </a:cubicBezTo>
                        <a:close/>
                        <a:moveTo>
                          <a:pt x="22" y="206"/>
                        </a:moveTo>
                        <a:cubicBezTo>
                          <a:pt x="28" y="206"/>
                          <a:pt x="28" y="206"/>
                          <a:pt x="28" y="206"/>
                        </a:cubicBezTo>
                        <a:cubicBezTo>
                          <a:pt x="25" y="212"/>
                          <a:pt x="25" y="212"/>
                          <a:pt x="25" y="212"/>
                        </a:cubicBezTo>
                        <a:lnTo>
                          <a:pt x="22" y="20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sp>
                <p:nvSpPr>
                  <p:cNvPr id="177" name="í$ľîďé"/>
                  <p:cNvSpPr/>
                  <p:nvPr/>
                </p:nvSpPr>
                <p:spPr bwMode="auto">
                  <a:xfrm>
                    <a:off x="1765" y="1606"/>
                    <a:ext cx="77" cy="264"/>
                  </a:xfrm>
                  <a:custGeom>
                    <a:avLst/>
                    <a:gdLst>
                      <a:gd name="T0" fmla="*/ 61 w 64"/>
                      <a:gd name="T1" fmla="*/ 0 h 220"/>
                      <a:gd name="T2" fmla="*/ 3 w 64"/>
                      <a:gd name="T3" fmla="*/ 0 h 220"/>
                      <a:gd name="T4" fmla="*/ 0 w 64"/>
                      <a:gd name="T5" fmla="*/ 3 h 220"/>
                      <a:gd name="T6" fmla="*/ 0 w 64"/>
                      <a:gd name="T7" fmla="*/ 217 h 220"/>
                      <a:gd name="T8" fmla="*/ 3 w 64"/>
                      <a:gd name="T9" fmla="*/ 220 h 220"/>
                      <a:gd name="T10" fmla="*/ 61 w 64"/>
                      <a:gd name="T11" fmla="*/ 220 h 220"/>
                      <a:gd name="T12" fmla="*/ 64 w 64"/>
                      <a:gd name="T13" fmla="*/ 217 h 220"/>
                      <a:gd name="T14" fmla="*/ 64 w 64"/>
                      <a:gd name="T15" fmla="*/ 3 h 220"/>
                      <a:gd name="T16" fmla="*/ 61 w 64"/>
                      <a:gd name="T17" fmla="*/ 0 h 220"/>
                      <a:gd name="T18" fmla="*/ 5 w 64"/>
                      <a:gd name="T19" fmla="*/ 215 h 220"/>
                      <a:gd name="T20" fmla="*/ 5 w 64"/>
                      <a:gd name="T21" fmla="*/ 5 h 220"/>
                      <a:gd name="T22" fmla="*/ 59 w 64"/>
                      <a:gd name="T23" fmla="*/ 5 h 220"/>
                      <a:gd name="T24" fmla="*/ 59 w 64"/>
                      <a:gd name="T25" fmla="*/ 22 h 220"/>
                      <a:gd name="T26" fmla="*/ 39 w 64"/>
                      <a:gd name="T27" fmla="*/ 22 h 220"/>
                      <a:gd name="T28" fmla="*/ 37 w 64"/>
                      <a:gd name="T29" fmla="*/ 25 h 220"/>
                      <a:gd name="T30" fmla="*/ 39 w 64"/>
                      <a:gd name="T31" fmla="*/ 27 h 220"/>
                      <a:gd name="T32" fmla="*/ 59 w 64"/>
                      <a:gd name="T33" fmla="*/ 27 h 220"/>
                      <a:gd name="T34" fmla="*/ 59 w 64"/>
                      <a:gd name="T35" fmla="*/ 47 h 220"/>
                      <a:gd name="T36" fmla="*/ 32 w 64"/>
                      <a:gd name="T37" fmla="*/ 47 h 220"/>
                      <a:gd name="T38" fmla="*/ 30 w 64"/>
                      <a:gd name="T39" fmla="*/ 49 h 220"/>
                      <a:gd name="T40" fmla="*/ 32 w 64"/>
                      <a:gd name="T41" fmla="*/ 51 h 220"/>
                      <a:gd name="T42" fmla="*/ 59 w 64"/>
                      <a:gd name="T43" fmla="*/ 51 h 220"/>
                      <a:gd name="T44" fmla="*/ 59 w 64"/>
                      <a:gd name="T45" fmla="*/ 71 h 220"/>
                      <a:gd name="T46" fmla="*/ 39 w 64"/>
                      <a:gd name="T47" fmla="*/ 71 h 220"/>
                      <a:gd name="T48" fmla="*/ 37 w 64"/>
                      <a:gd name="T49" fmla="*/ 73 h 220"/>
                      <a:gd name="T50" fmla="*/ 39 w 64"/>
                      <a:gd name="T51" fmla="*/ 76 h 220"/>
                      <a:gd name="T52" fmla="*/ 59 w 64"/>
                      <a:gd name="T53" fmla="*/ 76 h 220"/>
                      <a:gd name="T54" fmla="*/ 59 w 64"/>
                      <a:gd name="T55" fmla="*/ 95 h 220"/>
                      <a:gd name="T56" fmla="*/ 32 w 64"/>
                      <a:gd name="T57" fmla="*/ 95 h 220"/>
                      <a:gd name="T58" fmla="*/ 30 w 64"/>
                      <a:gd name="T59" fmla="*/ 97 h 220"/>
                      <a:gd name="T60" fmla="*/ 32 w 64"/>
                      <a:gd name="T61" fmla="*/ 100 h 220"/>
                      <a:gd name="T62" fmla="*/ 59 w 64"/>
                      <a:gd name="T63" fmla="*/ 100 h 220"/>
                      <a:gd name="T64" fmla="*/ 59 w 64"/>
                      <a:gd name="T65" fmla="*/ 119 h 220"/>
                      <a:gd name="T66" fmla="*/ 39 w 64"/>
                      <a:gd name="T67" fmla="*/ 119 h 220"/>
                      <a:gd name="T68" fmla="*/ 37 w 64"/>
                      <a:gd name="T69" fmla="*/ 122 h 220"/>
                      <a:gd name="T70" fmla="*/ 39 w 64"/>
                      <a:gd name="T71" fmla="*/ 124 h 220"/>
                      <a:gd name="T72" fmla="*/ 59 w 64"/>
                      <a:gd name="T73" fmla="*/ 124 h 220"/>
                      <a:gd name="T74" fmla="*/ 59 w 64"/>
                      <a:gd name="T75" fmla="*/ 143 h 220"/>
                      <a:gd name="T76" fmla="*/ 32 w 64"/>
                      <a:gd name="T77" fmla="*/ 143 h 220"/>
                      <a:gd name="T78" fmla="*/ 30 w 64"/>
                      <a:gd name="T79" fmla="*/ 146 h 220"/>
                      <a:gd name="T80" fmla="*/ 32 w 64"/>
                      <a:gd name="T81" fmla="*/ 148 h 220"/>
                      <a:gd name="T82" fmla="*/ 59 w 64"/>
                      <a:gd name="T83" fmla="*/ 148 h 220"/>
                      <a:gd name="T84" fmla="*/ 59 w 64"/>
                      <a:gd name="T85" fmla="*/ 168 h 220"/>
                      <a:gd name="T86" fmla="*/ 39 w 64"/>
                      <a:gd name="T87" fmla="*/ 168 h 220"/>
                      <a:gd name="T88" fmla="*/ 37 w 64"/>
                      <a:gd name="T89" fmla="*/ 170 h 220"/>
                      <a:gd name="T90" fmla="*/ 39 w 64"/>
                      <a:gd name="T91" fmla="*/ 172 h 220"/>
                      <a:gd name="T92" fmla="*/ 59 w 64"/>
                      <a:gd name="T93" fmla="*/ 172 h 220"/>
                      <a:gd name="T94" fmla="*/ 59 w 64"/>
                      <a:gd name="T95" fmla="*/ 192 h 220"/>
                      <a:gd name="T96" fmla="*/ 32 w 64"/>
                      <a:gd name="T97" fmla="*/ 192 h 220"/>
                      <a:gd name="T98" fmla="*/ 30 w 64"/>
                      <a:gd name="T99" fmla="*/ 194 h 220"/>
                      <a:gd name="T100" fmla="*/ 32 w 64"/>
                      <a:gd name="T101" fmla="*/ 196 h 220"/>
                      <a:gd name="T102" fmla="*/ 59 w 64"/>
                      <a:gd name="T103" fmla="*/ 196 h 220"/>
                      <a:gd name="T104" fmla="*/ 59 w 64"/>
                      <a:gd name="T105" fmla="*/ 215 h 220"/>
                      <a:gd name="T106" fmla="*/ 5 w 64"/>
                      <a:gd name="T107" fmla="*/ 21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220">
                        <a:moveTo>
                          <a:pt x="61" y="0"/>
                        </a:moveTo>
                        <a:cubicBezTo>
                          <a:pt x="3" y="0"/>
                          <a:pt x="3" y="0"/>
                          <a:pt x="3" y="0"/>
                        </a:cubicBezTo>
                        <a:cubicBezTo>
                          <a:pt x="1" y="0"/>
                          <a:pt x="0" y="1"/>
                          <a:pt x="0" y="3"/>
                        </a:cubicBezTo>
                        <a:cubicBezTo>
                          <a:pt x="0" y="217"/>
                          <a:pt x="0" y="217"/>
                          <a:pt x="0" y="217"/>
                        </a:cubicBezTo>
                        <a:cubicBezTo>
                          <a:pt x="0" y="218"/>
                          <a:pt x="1" y="220"/>
                          <a:pt x="3" y="220"/>
                        </a:cubicBezTo>
                        <a:cubicBezTo>
                          <a:pt x="61" y="220"/>
                          <a:pt x="61" y="220"/>
                          <a:pt x="61" y="220"/>
                        </a:cubicBezTo>
                        <a:cubicBezTo>
                          <a:pt x="63" y="220"/>
                          <a:pt x="64" y="218"/>
                          <a:pt x="64" y="217"/>
                        </a:cubicBezTo>
                        <a:cubicBezTo>
                          <a:pt x="64" y="3"/>
                          <a:pt x="64" y="3"/>
                          <a:pt x="64" y="3"/>
                        </a:cubicBezTo>
                        <a:cubicBezTo>
                          <a:pt x="64" y="1"/>
                          <a:pt x="63" y="0"/>
                          <a:pt x="61" y="0"/>
                        </a:cubicBezTo>
                        <a:close/>
                        <a:moveTo>
                          <a:pt x="5" y="215"/>
                        </a:moveTo>
                        <a:cubicBezTo>
                          <a:pt x="5" y="5"/>
                          <a:pt x="5" y="5"/>
                          <a:pt x="5" y="5"/>
                        </a:cubicBezTo>
                        <a:cubicBezTo>
                          <a:pt x="59" y="5"/>
                          <a:pt x="59" y="5"/>
                          <a:pt x="59" y="5"/>
                        </a:cubicBezTo>
                        <a:cubicBezTo>
                          <a:pt x="59" y="22"/>
                          <a:pt x="59" y="22"/>
                          <a:pt x="59" y="22"/>
                        </a:cubicBezTo>
                        <a:cubicBezTo>
                          <a:pt x="39" y="22"/>
                          <a:pt x="39" y="22"/>
                          <a:pt x="39" y="22"/>
                        </a:cubicBezTo>
                        <a:cubicBezTo>
                          <a:pt x="38" y="22"/>
                          <a:pt x="37" y="24"/>
                          <a:pt x="37" y="25"/>
                        </a:cubicBezTo>
                        <a:cubicBezTo>
                          <a:pt x="37" y="26"/>
                          <a:pt x="38" y="27"/>
                          <a:pt x="39" y="27"/>
                        </a:cubicBezTo>
                        <a:cubicBezTo>
                          <a:pt x="59" y="27"/>
                          <a:pt x="59" y="27"/>
                          <a:pt x="59" y="27"/>
                        </a:cubicBezTo>
                        <a:cubicBezTo>
                          <a:pt x="59" y="47"/>
                          <a:pt x="59" y="47"/>
                          <a:pt x="59" y="47"/>
                        </a:cubicBezTo>
                        <a:cubicBezTo>
                          <a:pt x="32" y="47"/>
                          <a:pt x="32" y="47"/>
                          <a:pt x="32" y="47"/>
                        </a:cubicBezTo>
                        <a:cubicBezTo>
                          <a:pt x="31" y="47"/>
                          <a:pt x="30" y="48"/>
                          <a:pt x="30" y="49"/>
                        </a:cubicBezTo>
                        <a:cubicBezTo>
                          <a:pt x="30" y="50"/>
                          <a:pt x="31" y="51"/>
                          <a:pt x="32" y="51"/>
                        </a:cubicBezTo>
                        <a:cubicBezTo>
                          <a:pt x="59" y="51"/>
                          <a:pt x="59" y="51"/>
                          <a:pt x="59" y="51"/>
                        </a:cubicBezTo>
                        <a:cubicBezTo>
                          <a:pt x="59" y="71"/>
                          <a:pt x="59" y="71"/>
                          <a:pt x="59" y="71"/>
                        </a:cubicBezTo>
                        <a:cubicBezTo>
                          <a:pt x="39" y="71"/>
                          <a:pt x="39" y="71"/>
                          <a:pt x="39" y="71"/>
                        </a:cubicBezTo>
                        <a:cubicBezTo>
                          <a:pt x="38" y="71"/>
                          <a:pt x="37" y="72"/>
                          <a:pt x="37" y="73"/>
                        </a:cubicBezTo>
                        <a:cubicBezTo>
                          <a:pt x="37" y="74"/>
                          <a:pt x="38" y="76"/>
                          <a:pt x="39" y="76"/>
                        </a:cubicBezTo>
                        <a:cubicBezTo>
                          <a:pt x="59" y="76"/>
                          <a:pt x="59" y="76"/>
                          <a:pt x="59" y="76"/>
                        </a:cubicBezTo>
                        <a:cubicBezTo>
                          <a:pt x="59" y="95"/>
                          <a:pt x="59" y="95"/>
                          <a:pt x="59" y="95"/>
                        </a:cubicBezTo>
                        <a:cubicBezTo>
                          <a:pt x="32" y="95"/>
                          <a:pt x="32" y="95"/>
                          <a:pt x="32" y="95"/>
                        </a:cubicBezTo>
                        <a:cubicBezTo>
                          <a:pt x="31" y="95"/>
                          <a:pt x="30" y="96"/>
                          <a:pt x="30" y="97"/>
                        </a:cubicBezTo>
                        <a:cubicBezTo>
                          <a:pt x="30" y="99"/>
                          <a:pt x="31" y="100"/>
                          <a:pt x="32" y="100"/>
                        </a:cubicBezTo>
                        <a:cubicBezTo>
                          <a:pt x="59" y="100"/>
                          <a:pt x="59" y="100"/>
                          <a:pt x="59" y="100"/>
                        </a:cubicBezTo>
                        <a:cubicBezTo>
                          <a:pt x="59" y="119"/>
                          <a:pt x="59" y="119"/>
                          <a:pt x="59" y="119"/>
                        </a:cubicBezTo>
                        <a:cubicBezTo>
                          <a:pt x="39" y="119"/>
                          <a:pt x="39" y="119"/>
                          <a:pt x="39" y="119"/>
                        </a:cubicBezTo>
                        <a:cubicBezTo>
                          <a:pt x="38" y="119"/>
                          <a:pt x="37" y="120"/>
                          <a:pt x="37" y="122"/>
                        </a:cubicBezTo>
                        <a:cubicBezTo>
                          <a:pt x="37" y="123"/>
                          <a:pt x="38" y="124"/>
                          <a:pt x="39" y="124"/>
                        </a:cubicBezTo>
                        <a:cubicBezTo>
                          <a:pt x="59" y="124"/>
                          <a:pt x="59" y="124"/>
                          <a:pt x="59" y="124"/>
                        </a:cubicBezTo>
                        <a:cubicBezTo>
                          <a:pt x="59" y="143"/>
                          <a:pt x="59" y="143"/>
                          <a:pt x="59" y="143"/>
                        </a:cubicBezTo>
                        <a:cubicBezTo>
                          <a:pt x="32" y="143"/>
                          <a:pt x="32" y="143"/>
                          <a:pt x="32" y="143"/>
                        </a:cubicBezTo>
                        <a:cubicBezTo>
                          <a:pt x="31" y="143"/>
                          <a:pt x="30" y="144"/>
                          <a:pt x="30" y="146"/>
                        </a:cubicBezTo>
                        <a:cubicBezTo>
                          <a:pt x="30" y="147"/>
                          <a:pt x="31" y="148"/>
                          <a:pt x="32" y="148"/>
                        </a:cubicBezTo>
                        <a:cubicBezTo>
                          <a:pt x="59" y="148"/>
                          <a:pt x="59" y="148"/>
                          <a:pt x="59" y="148"/>
                        </a:cubicBezTo>
                        <a:cubicBezTo>
                          <a:pt x="59" y="168"/>
                          <a:pt x="59" y="168"/>
                          <a:pt x="59" y="168"/>
                        </a:cubicBezTo>
                        <a:cubicBezTo>
                          <a:pt x="39" y="168"/>
                          <a:pt x="39" y="168"/>
                          <a:pt x="39" y="168"/>
                        </a:cubicBezTo>
                        <a:cubicBezTo>
                          <a:pt x="38" y="168"/>
                          <a:pt x="37" y="169"/>
                          <a:pt x="37" y="170"/>
                        </a:cubicBezTo>
                        <a:cubicBezTo>
                          <a:pt x="37" y="171"/>
                          <a:pt x="38" y="172"/>
                          <a:pt x="39" y="172"/>
                        </a:cubicBezTo>
                        <a:cubicBezTo>
                          <a:pt x="59" y="172"/>
                          <a:pt x="59" y="172"/>
                          <a:pt x="59" y="172"/>
                        </a:cubicBezTo>
                        <a:cubicBezTo>
                          <a:pt x="59" y="192"/>
                          <a:pt x="59" y="192"/>
                          <a:pt x="59" y="192"/>
                        </a:cubicBezTo>
                        <a:cubicBezTo>
                          <a:pt x="32" y="192"/>
                          <a:pt x="32" y="192"/>
                          <a:pt x="32" y="192"/>
                        </a:cubicBezTo>
                        <a:cubicBezTo>
                          <a:pt x="31" y="192"/>
                          <a:pt x="30" y="193"/>
                          <a:pt x="30" y="194"/>
                        </a:cubicBezTo>
                        <a:cubicBezTo>
                          <a:pt x="30" y="195"/>
                          <a:pt x="31" y="196"/>
                          <a:pt x="32" y="196"/>
                        </a:cubicBezTo>
                        <a:cubicBezTo>
                          <a:pt x="59" y="196"/>
                          <a:pt x="59" y="196"/>
                          <a:pt x="59" y="196"/>
                        </a:cubicBezTo>
                        <a:cubicBezTo>
                          <a:pt x="59" y="215"/>
                          <a:pt x="59" y="215"/>
                          <a:pt x="59" y="215"/>
                        </a:cubicBezTo>
                        <a:lnTo>
                          <a:pt x="5" y="2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smtClean="0">
                      <a:ln>
                        <a:noFill/>
                      </a:ln>
                      <a:solidFill>
                        <a:prstClr val="black"/>
                      </a:solidFill>
                      <a:effectLst/>
                      <a:uLnTx/>
                      <a:uFillTx/>
                      <a:latin typeface="Arial"/>
                      <a:ea typeface="微软雅黑"/>
                    </a:endParaRPr>
                  </a:p>
                </p:txBody>
              </p:sp>
            </p:grpSp>
            <p:sp>
              <p:nvSpPr>
                <p:cNvPr id="173" name="isḻíḋe"/>
                <p:cNvSpPr txBox="1"/>
                <p:nvPr/>
              </p:nvSpPr>
              <p:spPr bwMode="auto">
                <a:xfrm>
                  <a:off x="1271464" y="2876902"/>
                  <a:ext cx="2551325" cy="224243"/>
                </a:xfrm>
                <a:prstGeom prst="rect">
                  <a:avLst/>
                </a:prstGeom>
                <a:noFill/>
              </p:spPr>
              <p:txBody>
                <a:bodyPr wrap="none" lIns="0" tIns="0" rIns="288000" bIns="0" anchor="b" anchorCtr="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C0504D">
                          <a:lumMod val="100000"/>
                        </a:srgbClr>
                      </a:solidFill>
                      <a:effectLst/>
                      <a:uLnTx/>
                      <a:uFillTx/>
                      <a:latin typeface="Arial"/>
                      <a:ea typeface="微软雅黑"/>
                    </a:rPr>
                    <a:t>丰富的软件著作支撑</a:t>
                  </a:r>
                </a:p>
              </p:txBody>
            </p:sp>
            <p:sp>
              <p:nvSpPr>
                <p:cNvPr id="171" name="íṣľïḑê"/>
                <p:cNvSpPr txBox="1"/>
                <p:nvPr/>
              </p:nvSpPr>
              <p:spPr bwMode="auto">
                <a:xfrm>
                  <a:off x="8386382" y="2876902"/>
                  <a:ext cx="2498149" cy="231923"/>
                </a:xfrm>
                <a:prstGeom prst="rect">
                  <a:avLst/>
                </a:prstGeom>
                <a:noFill/>
              </p:spPr>
              <p:txBody>
                <a:bodyPr wrap="none" lIns="288000" tIns="0" rIns="288000" bIns="0" anchor="b"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8064A2">
                          <a:lumMod val="100000"/>
                        </a:srgbClr>
                      </a:solidFill>
                      <a:effectLst/>
                      <a:uLnTx/>
                      <a:uFillTx/>
                      <a:latin typeface="Arial"/>
                      <a:ea typeface="微软雅黑"/>
                    </a:rPr>
                    <a:t>优秀的人才储备支撑</a:t>
                  </a:r>
                </a:p>
              </p:txBody>
            </p:sp>
            <p:grpSp>
              <p:nvGrpSpPr>
                <p:cNvPr id="164" name="iṩḷïḍê"/>
                <p:cNvGrpSpPr/>
                <p:nvPr/>
              </p:nvGrpSpPr>
              <p:grpSpPr>
                <a:xfrm>
                  <a:off x="4865200" y="1169926"/>
                  <a:ext cx="2498150" cy="959612"/>
                  <a:chOff x="4410146" y="3865260"/>
                  <a:chExt cx="2475841" cy="1119200"/>
                </a:xfrm>
              </p:grpSpPr>
              <p:sp>
                <p:nvSpPr>
                  <p:cNvPr id="165" name="iṡļíḍè"/>
                  <p:cNvSpPr txBox="1"/>
                  <p:nvPr/>
                </p:nvSpPr>
                <p:spPr bwMode="auto">
                  <a:xfrm>
                    <a:off x="4410146" y="3865260"/>
                    <a:ext cx="2475841" cy="270493"/>
                  </a:xfrm>
                  <a:prstGeom prst="rect">
                    <a:avLst/>
                  </a:prstGeom>
                  <a:noFill/>
                </p:spPr>
                <p:txBody>
                  <a:bodyPr wrap="none" lIns="288000" tIns="0" rIns="288000" bIns="0" anchor="ctr" anchorCtr="1">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9BBB59">
                            <a:lumMod val="100000"/>
                          </a:srgbClr>
                        </a:solidFill>
                        <a:effectLst/>
                        <a:uLnTx/>
                        <a:uFillTx/>
                        <a:latin typeface="Arial"/>
                        <a:ea typeface="微软雅黑"/>
                      </a:rPr>
                      <a:t>广泛的客户群体支撑</a:t>
                    </a:r>
                  </a:p>
                </p:txBody>
              </p:sp>
              <p:sp>
                <p:nvSpPr>
                  <p:cNvPr id="166" name="iṡlïḍé"/>
                  <p:cNvSpPr txBox="1"/>
                  <p:nvPr/>
                </p:nvSpPr>
                <p:spPr bwMode="auto">
                  <a:xfrm>
                    <a:off x="4410148" y="4190370"/>
                    <a:ext cx="2230787" cy="794090"/>
                  </a:xfrm>
                  <a:prstGeom prst="rect">
                    <a:avLst/>
                  </a:prstGeom>
                  <a:noFill/>
                </p:spPr>
                <p:txBody>
                  <a:bodyPr wrap="square" lIns="288000" tIns="0" rIns="288000" bIns="0" anchor="t" anchorCtr="1">
                    <a:norm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zh-CN" altLang="en-US" sz="700" b="0" i="0" u="none" strike="noStrike" kern="0" cap="none" spc="0" normalizeH="0" baseline="0" noProof="0" dirty="0" smtClean="0">
                        <a:ln>
                          <a:noFill/>
                        </a:ln>
                        <a:solidFill>
                          <a:prstClr val="black">
                            <a:lumMod val="85000"/>
                            <a:lumOff val="15000"/>
                          </a:prstClr>
                        </a:solidFill>
                        <a:effectLst/>
                        <a:uLnTx/>
                        <a:uFillTx/>
                        <a:latin typeface="Arial"/>
                        <a:ea typeface="微软雅黑"/>
                      </a:rPr>
                      <a:t>与杭电、工商、理工、宁波城市职业技术学院等高校合作</a:t>
                    </a:r>
                  </a:p>
                </p:txBody>
              </p:sp>
            </p:grpSp>
          </p:grpSp>
          <p:sp>
            <p:nvSpPr>
              <p:cNvPr id="150" name="文本框 149"/>
              <p:cNvSpPr txBox="1"/>
              <p:nvPr/>
            </p:nvSpPr>
            <p:spPr>
              <a:xfrm>
                <a:off x="3689352" y="3365949"/>
                <a:ext cx="1804536" cy="40117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i="0" u="none" strike="noStrike" kern="0" cap="none" spc="0" normalizeH="0" baseline="0" noProof="0" dirty="0" smtClean="0">
                    <a:ln>
                      <a:noFill/>
                    </a:ln>
                    <a:solidFill>
                      <a:prstClr val="black"/>
                    </a:solidFill>
                    <a:effectLst/>
                    <a:uLnTx/>
                    <a:uFillTx/>
                    <a:latin typeface="Arial"/>
                    <a:ea typeface="微软雅黑"/>
                  </a:rPr>
                  <a:t>软硬件实力支撑</a:t>
                </a:r>
              </a:p>
            </p:txBody>
          </p:sp>
        </p:grpSp>
        <p:sp>
          <p:nvSpPr>
            <p:cNvPr id="234" name="矩形 233"/>
            <p:cNvSpPr/>
            <p:nvPr/>
          </p:nvSpPr>
          <p:spPr>
            <a:xfrm>
              <a:off x="378646" y="992182"/>
              <a:ext cx="10993084" cy="1012154"/>
            </a:xfrm>
            <a:prstGeom prst="rect">
              <a:avLst/>
            </a:prstGeom>
          </p:spPr>
          <p:txBody>
            <a:bodyPr wrap="square">
              <a:spAutoFit/>
            </a:bodyPr>
            <a:lstStyle/>
            <a:p>
              <a:pPr algn="l" defTabSz="914400" fontAlgn="auto">
                <a:lnSpc>
                  <a:spcPct val="150000"/>
                </a:lnSpc>
                <a:spcBef>
                  <a:spcPts val="0"/>
                </a:spcBef>
                <a:spcAft>
                  <a:spcPts val="0"/>
                </a:spcAft>
              </a:pPr>
              <a:r>
                <a:rPr lang="zh-CN" altLang="en-US" dirty="0" smtClean="0">
                  <a:solidFill>
                    <a:prstClr val="black"/>
                  </a:solidFill>
                  <a:latin typeface="Arial"/>
                  <a:ea typeface="微软雅黑"/>
                </a:rPr>
                <a:t>协新科技</a:t>
              </a:r>
              <a:r>
                <a:rPr lang="zh-CN" altLang="en-US" b="0" dirty="0" smtClean="0">
                  <a:solidFill>
                    <a:prstClr val="black"/>
                  </a:solidFill>
                  <a:latin typeface="Arial"/>
                  <a:ea typeface="微软雅黑"/>
                </a:rPr>
                <a:t>有着完备的公司资质、丰富的产品、优秀的人才储备和广泛的客户群体等各方面的软硬件综合实力支撑</a:t>
              </a:r>
              <a:endParaRPr lang="en-US" altLang="zh-CN" b="0" dirty="0">
                <a:solidFill>
                  <a:prstClr val="black"/>
                </a:solidFill>
                <a:latin typeface="Arial"/>
                <a:ea typeface="微软雅黑"/>
              </a:endParaRPr>
            </a:p>
          </p:txBody>
        </p:sp>
      </p:grpSp>
    </p:spTree>
    <p:extLst>
      <p:ext uri="{BB962C8B-B14F-4D97-AF65-F5344CB8AC3E}">
        <p14:creationId xmlns:p14="http://schemas.microsoft.com/office/powerpoint/2010/main" val="8022443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smtClean="0">
                <a:latin typeface="微软雅黑" pitchFamily="34" charset="-122"/>
                <a:ea typeface="微软雅黑" pitchFamily="34" charset="-122"/>
              </a:rPr>
              <a:t>2.</a:t>
            </a:r>
            <a:r>
              <a:rPr lang="zh-CN" altLang="en-US" dirty="0" smtClean="0">
                <a:latin typeface="微软雅黑" pitchFamily="34" charset="-122"/>
                <a:ea typeface="微软雅黑" pitchFamily="34" charset="-122"/>
              </a:rPr>
              <a:t>研发团队核心成员</a:t>
            </a:r>
            <a:r>
              <a:rPr lang="zh-CN" altLang="en-US" dirty="0" smtClean="0">
                <a:latin typeface="微软雅黑" pitchFamily="34" charset="-122"/>
                <a:ea typeface="微软雅黑" pitchFamily="34" charset="-122"/>
              </a:rPr>
              <a:t>介绍</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4</a:t>
            </a:fld>
            <a:endParaRPr lang="en-US"/>
          </a:p>
        </p:txBody>
      </p:sp>
      <p:graphicFrame>
        <p:nvGraphicFramePr>
          <p:cNvPr id="5" name="内容占位符 7"/>
          <p:cNvGraphicFramePr>
            <a:graphicFrameLocks noGrp="1"/>
          </p:cNvGraphicFramePr>
          <p:nvPr>
            <p:ph sz="quarter" idx="10"/>
            <p:extLst>
              <p:ext uri="{D42A27DB-BD31-4B8C-83A1-F6EECF244321}">
                <p14:modId xmlns:p14="http://schemas.microsoft.com/office/powerpoint/2010/main" val="1133649049"/>
              </p:ext>
            </p:extLst>
          </p:nvPr>
        </p:nvGraphicFramePr>
        <p:xfrm>
          <a:off x="237107" y="946149"/>
          <a:ext cx="8208393" cy="3217586"/>
        </p:xfrm>
        <a:graphic>
          <a:graphicData uri="http://schemas.openxmlformats.org/drawingml/2006/table">
            <a:tbl>
              <a:tblPr firstRow="1" bandRow="1">
                <a:tableStyleId>{0E3FDE45-AF77-4B5C-9715-49D594BDF05E}</a:tableStyleId>
              </a:tblPr>
              <a:tblGrid>
                <a:gridCol w="934725">
                  <a:extLst>
                    <a:ext uri="{9D8B030D-6E8A-4147-A177-3AD203B41FA5}">
                      <a16:colId xmlns="" xmlns:a16="http://schemas.microsoft.com/office/drawing/2014/main" val="288910187"/>
                    </a:ext>
                  </a:extLst>
                </a:gridCol>
                <a:gridCol w="1457123">
                  <a:extLst>
                    <a:ext uri="{9D8B030D-6E8A-4147-A177-3AD203B41FA5}">
                      <a16:colId xmlns="" xmlns:a16="http://schemas.microsoft.com/office/drawing/2014/main" val="632936126"/>
                    </a:ext>
                  </a:extLst>
                </a:gridCol>
                <a:gridCol w="5816545">
                  <a:extLst>
                    <a:ext uri="{9D8B030D-6E8A-4147-A177-3AD203B41FA5}">
                      <a16:colId xmlns="" xmlns:a16="http://schemas.microsoft.com/office/drawing/2014/main" val="3697965570"/>
                    </a:ext>
                  </a:extLst>
                </a:gridCol>
              </a:tblGrid>
              <a:tr h="459840">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姓名</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职务</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成员介绍</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1116303380"/>
                  </a:ext>
                </a:extLst>
              </a:tr>
              <a:tr h="395467">
                <a:tc>
                  <a:txBody>
                    <a:bodyPr/>
                    <a:lstStyle/>
                    <a:p>
                      <a:pPr algn="ctr" fontAlgn="ctr"/>
                      <a:r>
                        <a:rPr lang="zh-CN" altLang="en-US" sz="1100" b="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马晓辉</a:t>
                      </a:r>
                      <a:endParaRPr lang="zh-CN" altLang="en-US" sz="1100" b="0" u="none" strike="noStrike" kern="1200" dirty="0">
                        <a:solidFill>
                          <a:schemeClr val="dk1"/>
                        </a:solidFill>
                        <a:effectLst/>
                        <a:latin typeface="微软雅黑" panose="020B0503020204020204" pitchFamily="34" charset="-122"/>
                        <a:ea typeface="微软雅黑" panose="020B0503020204020204" pitchFamily="34" charset="-122"/>
                        <a:cs typeface="+mn-cs"/>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技术总监</a:t>
                      </a:r>
                      <a:r>
                        <a:rPr lang="en-US" altLang="zh-CN" sz="1100" u="none" strike="noStrike" dirty="0" smtClean="0">
                          <a:effectLst/>
                          <a:latin typeface="微软雅黑" panose="020B0503020204020204" pitchFamily="34" charset="-122"/>
                          <a:ea typeface="微软雅黑" panose="020B0503020204020204" pitchFamily="34" charset="-122"/>
                        </a:rPr>
                        <a:t>/</a:t>
                      </a:r>
                      <a:r>
                        <a:rPr lang="zh-CN" altLang="en-US" sz="1100" u="none" strike="noStrike" dirty="0" smtClean="0">
                          <a:effectLst/>
                          <a:latin typeface="微软雅黑" panose="020B0503020204020204" pitchFamily="34" charset="-122"/>
                          <a:ea typeface="微软雅黑" panose="020B0503020204020204" pitchFamily="34" charset="-122"/>
                        </a:rPr>
                        <a:t>系统设计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1</a:t>
                      </a:r>
                      <a:r>
                        <a:rPr lang="zh-CN" altLang="en-US" sz="1100" u="none" strike="noStrike" dirty="0" smtClean="0">
                          <a:effectLst/>
                          <a:latin typeface="微软雅黑" panose="020B0503020204020204" pitchFamily="34" charset="-122"/>
                          <a:ea typeface="微软雅黑" panose="020B0503020204020204" pitchFamily="34" charset="-122"/>
                        </a:rPr>
                        <a:t>年，河南科技大学，</a:t>
                      </a:r>
                      <a:r>
                        <a:rPr lang="en-US" altLang="zh-CN" sz="1100" u="none" strike="noStrike" dirty="0" smtClean="0">
                          <a:effectLst/>
                          <a:latin typeface="微软雅黑" panose="020B0503020204020204" pitchFamily="34" charset="-122"/>
                          <a:ea typeface="微软雅黑" panose="020B0503020204020204" pitchFamily="34" charset="-122"/>
                        </a:rPr>
                        <a:t>14</a:t>
                      </a:r>
                      <a:r>
                        <a:rPr lang="zh-CN" altLang="en-US" sz="1100" u="none" strike="noStrike" dirty="0" smtClean="0">
                          <a:effectLst/>
                          <a:latin typeface="微软雅黑" panose="020B0503020204020204" pitchFamily="34" charset="-122"/>
                          <a:ea typeface="微软雅黑" panose="020B0503020204020204" pitchFamily="34" charset="-122"/>
                        </a:rPr>
                        <a:t>年的潜心系统研发，积累了丰富的研发</a:t>
                      </a:r>
                      <a:r>
                        <a:rPr lang="zh-CN" altLang="en-US" sz="1100" u="none" strike="noStrike" dirty="0">
                          <a:effectLst/>
                          <a:latin typeface="微软雅黑" panose="020B0503020204020204" pitchFamily="34" charset="-122"/>
                          <a:ea typeface="微软雅黑" panose="020B0503020204020204" pitchFamily="34" charset="-122"/>
                        </a:rPr>
                        <a:t>管理、</a:t>
                      </a:r>
                      <a:r>
                        <a:rPr lang="zh-CN" altLang="en-US" sz="1100" u="none" strike="noStrike" dirty="0" smtClean="0">
                          <a:effectLst/>
                          <a:latin typeface="微软雅黑" panose="020B0503020204020204" pitchFamily="34" charset="-122"/>
                          <a:ea typeface="微软雅黑" panose="020B0503020204020204" pitchFamily="34" charset="-122"/>
                        </a:rPr>
                        <a:t>产品管理和团队管理经验。以踏实过硬的技术实力和务实的管理能力赢得团队和客户的高度认可。</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2747760927"/>
                  </a:ext>
                </a:extLst>
              </a:tr>
              <a:tr h="587939">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李 强</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高级开发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83</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郑州大学，</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2</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从业经验，专注于软件开发、系统架构，时刻保持对最新</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技术的敏锐嗅觉，持续为客户提供高品质的</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产品</a:t>
                      </a:r>
                    </a:p>
                  </a:txBody>
                  <a:tcPr marL="11667" marR="11667" marT="11669" marB="0" anchor="ctr"/>
                </a:tc>
                <a:extLst>
                  <a:ext uri="{0D108BD9-81ED-4DB2-BD59-A6C34878D82A}">
                    <a16:rowId xmlns="" xmlns:a16="http://schemas.microsoft.com/office/drawing/2014/main" val="2127854811"/>
                  </a:ext>
                </a:extLst>
              </a:tr>
              <a:tr h="395467">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赵 咪</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2</a:t>
                      </a:r>
                      <a:r>
                        <a:rPr lang="zh-CN" altLang="en-US" sz="1100" u="none" strike="noStrike" dirty="0" smtClean="0">
                          <a:effectLst/>
                          <a:latin typeface="微软雅黑" panose="020B0503020204020204" pitchFamily="34" charset="-122"/>
                          <a:ea typeface="微软雅黑" panose="020B0503020204020204" pitchFamily="34" charset="-122"/>
                        </a:rPr>
                        <a:t>年，河南科技大学，具有极强的学习能力及开拓精神、丰富的</a:t>
                      </a:r>
                      <a:r>
                        <a:rPr lang="zh-CN" altLang="en-US" sz="1100" u="none" strike="noStrike" smtClean="0">
                          <a:effectLst/>
                          <a:latin typeface="微软雅黑" panose="020B0503020204020204" pitchFamily="34" charset="-122"/>
                          <a:ea typeface="微软雅黑" panose="020B0503020204020204" pitchFamily="34" charset="-122"/>
                        </a:rPr>
                        <a:t>软件开发经验</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4012327666"/>
                  </a:ext>
                </a:extLst>
              </a:tr>
              <a:tr h="395467">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马 文</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软件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1980</a:t>
                      </a:r>
                      <a:r>
                        <a:rPr lang="zh-CN" altLang="en-US" sz="1100" u="none" strike="noStrike" dirty="0" smtClean="0">
                          <a:effectLst/>
                          <a:latin typeface="微软雅黑" panose="020B0503020204020204" pitchFamily="34" charset="-122"/>
                          <a:ea typeface="微软雅黑" panose="020B0503020204020204" pitchFamily="34" charset="-122"/>
                        </a:rPr>
                        <a:t>年，解放军外国语学院，</a:t>
                      </a:r>
                      <a:r>
                        <a:rPr lang="en-US" altLang="zh-CN" sz="1100" u="none" strike="noStrike" dirty="0" smtClean="0">
                          <a:effectLst/>
                          <a:latin typeface="微软雅黑" panose="020B0503020204020204" pitchFamily="34" charset="-122"/>
                          <a:ea typeface="微软雅黑" panose="020B0503020204020204" pitchFamily="34" charset="-122"/>
                        </a:rPr>
                        <a:t>8</a:t>
                      </a:r>
                      <a:r>
                        <a:rPr lang="zh-CN" altLang="en-US" sz="1100" u="none" strike="noStrike" dirty="0" smtClean="0">
                          <a:effectLst/>
                          <a:latin typeface="微软雅黑" panose="020B0503020204020204" pitchFamily="34" charset="-122"/>
                          <a:ea typeface="微软雅黑" panose="020B0503020204020204" pitchFamily="34" charset="-122"/>
                        </a:rPr>
                        <a:t>年</a:t>
                      </a:r>
                      <a:r>
                        <a:rPr lang="en-US" altLang="zh-CN" sz="1100" u="none" strike="noStrike" dirty="0" smtClean="0">
                          <a:effectLst/>
                          <a:latin typeface="微软雅黑" panose="020B0503020204020204" pitchFamily="34" charset="-122"/>
                          <a:ea typeface="微软雅黑" panose="020B0503020204020204" pitchFamily="34" charset="-122"/>
                        </a:rPr>
                        <a:t>IT</a:t>
                      </a:r>
                      <a:r>
                        <a:rPr lang="zh-CN" altLang="en-US" sz="1100" u="none" strike="noStrike" dirty="0" smtClean="0">
                          <a:effectLst/>
                          <a:latin typeface="微软雅黑" panose="020B0503020204020204" pitchFamily="34" charset="-122"/>
                          <a:ea typeface="微软雅黑" panose="020B0503020204020204" pitchFamily="34" charset="-122"/>
                        </a:rPr>
                        <a:t>行业从业经验，曾任职于金蝶软件、普华集团，具有较强的产品需求分析能力</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344639850"/>
                  </a:ext>
                </a:extLst>
              </a:tr>
              <a:tr h="395467">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黎晓辉</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测试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87</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中央民族大学计算机系，</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6</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软件测试和测试管理从业经验，具有较强的软件测试技能和测试管理能力，在功能测试、接口测试、性能测试和自动化测试方面经验丰富。</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extLst>
                  <a:ext uri="{0D108BD9-81ED-4DB2-BD59-A6C34878D82A}">
                    <a16:rowId xmlns="" xmlns:a16="http://schemas.microsoft.com/office/drawing/2014/main" val="2031854037"/>
                  </a:ext>
                </a:extLst>
              </a:tr>
              <a:tr h="587939">
                <a:tc>
                  <a:txBody>
                    <a:bodyPr/>
                    <a:lstStyle/>
                    <a:p>
                      <a:pPr algn="ctr" fontAlgn="ctr"/>
                      <a:r>
                        <a:rPr lang="zh-CN" altLang="en-US" sz="1100" b="0" i="0" u="none" strike="noStrike" dirty="0" smtClean="0">
                          <a:solidFill>
                            <a:schemeClr val="tx1"/>
                          </a:solidFill>
                          <a:effectLst/>
                          <a:latin typeface="微软雅黑" panose="020B0503020204020204" pitchFamily="34" charset="-122"/>
                          <a:ea typeface="微软雅黑" panose="020B0503020204020204" pitchFamily="34" charset="-122"/>
                        </a:rPr>
                        <a:t>谢杨逸衡</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ctr" fontAlgn="ctr"/>
                      <a:r>
                        <a:rPr lang="zh-CN" altLang="en-US" sz="1100" u="none" strike="noStrike" dirty="0" smtClean="0">
                          <a:effectLst/>
                          <a:latin typeface="微软雅黑" panose="020B0503020204020204" pitchFamily="34" charset="-122"/>
                          <a:ea typeface="微软雅黑" panose="020B0503020204020204" pitchFamily="34" charset="-122"/>
                        </a:rPr>
                        <a:t>开发工程师</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1667" marR="11667" marT="11669" marB="0" anchor="ctr"/>
                </a:tc>
                <a:tc>
                  <a:txBody>
                    <a:bodyPr/>
                    <a:lstStyle/>
                    <a:p>
                      <a:pPr algn="l" fontAlgn="ct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1991</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浙江海洋大学，</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3</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年</a:t>
                      </a:r>
                      <a:r>
                        <a:rPr lang="en-US" altLang="zh-CN" sz="1100" b="0" i="0" u="none" strike="noStrike" dirty="0" smtClean="0">
                          <a:solidFill>
                            <a:srgbClr val="000000"/>
                          </a:solidFill>
                          <a:effectLst/>
                          <a:latin typeface="微软雅黑" panose="020B0503020204020204" pitchFamily="34" charset="-122"/>
                          <a:ea typeface="微软雅黑" panose="020B0503020204020204" pitchFamily="34" charset="-122"/>
                        </a:rPr>
                        <a:t>IT</a:t>
                      </a:r>
                      <a:r>
                        <a:rPr lang="zh-CN" altLang="en-US" sz="1100" b="0" i="0" u="none" strike="noStrike" dirty="0" smtClean="0">
                          <a:solidFill>
                            <a:srgbClr val="000000"/>
                          </a:solidFill>
                          <a:effectLst/>
                          <a:latin typeface="微软雅黑" panose="020B0503020204020204" pitchFamily="34" charset="-122"/>
                          <a:ea typeface="微软雅黑" panose="020B0503020204020204" pitchFamily="34" charset="-122"/>
                        </a:rPr>
                        <a:t>从业经验，专注于软件开发</a:t>
                      </a:r>
                    </a:p>
                  </a:txBody>
                  <a:tcPr marL="11667" marR="11667" marT="11669" marB="0" anchor="ctr"/>
                </a:tc>
                <a:extLst>
                  <a:ext uri="{0D108BD9-81ED-4DB2-BD59-A6C34878D82A}">
                    <a16:rowId xmlns="" xmlns:a16="http://schemas.microsoft.com/office/drawing/2014/main" val="7551302"/>
                  </a:ext>
                </a:extLst>
              </a:tr>
            </a:tbl>
          </a:graphicData>
        </a:graphic>
      </p:graphicFrame>
    </p:spTree>
    <p:extLst>
      <p:ext uri="{BB962C8B-B14F-4D97-AF65-F5344CB8AC3E}">
        <p14:creationId xmlns:p14="http://schemas.microsoft.com/office/powerpoint/2010/main" val="36996753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3</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架构</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5</a:t>
            </a:fld>
            <a:endParaRPr lang="en-US"/>
          </a:p>
        </p:txBody>
      </p:sp>
      <p:grpSp>
        <p:nvGrpSpPr>
          <p:cNvPr id="103" name="组合 102"/>
          <p:cNvGrpSpPr/>
          <p:nvPr/>
        </p:nvGrpSpPr>
        <p:grpSpPr>
          <a:xfrm>
            <a:off x="360347" y="655841"/>
            <a:ext cx="8183031" cy="3989478"/>
            <a:chOff x="360347" y="655841"/>
            <a:chExt cx="8183031" cy="3989478"/>
          </a:xfrm>
        </p:grpSpPr>
        <p:grpSp>
          <p:nvGrpSpPr>
            <p:cNvPr id="3" name="组合 2"/>
            <p:cNvGrpSpPr/>
            <p:nvPr/>
          </p:nvGrpSpPr>
          <p:grpSpPr>
            <a:xfrm>
              <a:off x="360347" y="1079761"/>
              <a:ext cx="8183031" cy="3565558"/>
              <a:chOff x="144413" y="866306"/>
              <a:chExt cx="11233248" cy="5476109"/>
            </a:xfrm>
          </p:grpSpPr>
          <p:sp>
            <p:nvSpPr>
              <p:cNvPr id="5" name="矩形 4"/>
              <p:cNvSpPr/>
              <p:nvPr/>
            </p:nvSpPr>
            <p:spPr>
              <a:xfrm>
                <a:off x="144413" y="1996747"/>
                <a:ext cx="6408713" cy="4345668"/>
              </a:xfrm>
              <a:prstGeom prst="rect">
                <a:avLst/>
              </a:prstGeom>
              <a:solidFill>
                <a:srgbClr val="00B0F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 name="矩形 5"/>
              <p:cNvSpPr/>
              <p:nvPr/>
            </p:nvSpPr>
            <p:spPr>
              <a:xfrm>
                <a:off x="411436" y="2089547"/>
                <a:ext cx="5853658" cy="2766325"/>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7" name="矩形 6"/>
              <p:cNvSpPr/>
              <p:nvPr/>
            </p:nvSpPr>
            <p:spPr>
              <a:xfrm>
                <a:off x="1584574" y="2233563"/>
                <a:ext cx="4464496" cy="820772"/>
              </a:xfrm>
              <a:prstGeom prst="rect">
                <a:avLst/>
              </a:prstGeom>
              <a:solidFill>
                <a:srgbClr val="FFFF00">
                  <a:alpha val="35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 name="矩形 7"/>
              <p:cNvSpPr/>
              <p:nvPr/>
            </p:nvSpPr>
            <p:spPr>
              <a:xfrm>
                <a:off x="2113983" y="2455054"/>
                <a:ext cx="1349905" cy="3198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管理系统</a:t>
                </a:r>
              </a:p>
            </p:txBody>
          </p:sp>
          <p:sp>
            <p:nvSpPr>
              <p:cNvPr id="9" name="矩形 8"/>
              <p:cNvSpPr/>
              <p:nvPr/>
            </p:nvSpPr>
            <p:spPr>
              <a:xfrm>
                <a:off x="4444614" y="2455054"/>
                <a:ext cx="1349905" cy="3198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移动</a:t>
                </a:r>
                <a:r>
                  <a:rPr kumimoji="1" lang="en-US" altLang="zh-CN"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rPr>
                  <a:t>App</a:t>
                </a:r>
                <a:endParaRPr kumimoji="1" lang="zh-CN" altLang="en-US" b="0" i="0" u="none" strike="noStrike" kern="0" cap="none" spc="0" normalizeH="0" baseline="0" noProof="0" dirty="0" smtClean="0">
                  <a:ln>
                    <a:noFill/>
                  </a:ln>
                  <a:solidFill>
                    <a:schemeClr val="tx1"/>
                  </a:solidFill>
                  <a:effectLst/>
                  <a:uLnTx/>
                  <a:uFillTx/>
                  <a:latin typeface="Calibri"/>
                  <a:ea typeface="宋体" panose="02010600030101010101" pitchFamily="2" charset="-122"/>
                  <a:cs typeface="+mn-cs"/>
                </a:endParaRPr>
              </a:p>
            </p:txBody>
          </p:sp>
          <p:sp>
            <p:nvSpPr>
              <p:cNvPr id="10" name="矩形 9"/>
              <p:cNvSpPr/>
              <p:nvPr/>
            </p:nvSpPr>
            <p:spPr>
              <a:xfrm>
                <a:off x="1656582" y="3756397"/>
                <a:ext cx="4464496" cy="738709"/>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服务中心</a:t>
                </a:r>
                <a:r>
                  <a:rPr kumimoji="1" lang="en-US" altLang="zh-CN"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r>
                  <a:rPr kumimoji="1" lang="en-US" altLang="zh-CN" sz="18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MircoService</a:t>
                </a:r>
                <a:r>
                  <a:rPr kumimoji="1" lang="en-US" altLang="zh-CN"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endParaRPr kumimoji="1" lang="zh-CN" altLang="en-US"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1" name="矩形 10"/>
              <p:cNvSpPr/>
              <p:nvPr/>
            </p:nvSpPr>
            <p:spPr>
              <a:xfrm>
                <a:off x="375759" y="4962785"/>
                <a:ext cx="5889335" cy="123121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8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云资源</a:t>
                </a: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260" y="1029701"/>
                <a:ext cx="465132" cy="465132"/>
              </a:xfrm>
              <a:prstGeom prst="rect">
                <a:avLst/>
              </a:prstGeom>
            </p:spPr>
          </p:pic>
          <p:grpSp>
            <p:nvGrpSpPr>
              <p:cNvPr id="13" name="组 37"/>
              <p:cNvGrpSpPr/>
              <p:nvPr/>
            </p:nvGrpSpPr>
            <p:grpSpPr>
              <a:xfrm>
                <a:off x="1667904" y="1029701"/>
                <a:ext cx="860403" cy="583664"/>
                <a:chOff x="1420754" y="642998"/>
                <a:chExt cx="860403" cy="583664"/>
              </a:xfrm>
            </p:grpSpPr>
            <p:pic>
              <p:nvPicPr>
                <p:cNvPr id="14" name="图片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0754" y="662143"/>
                  <a:ext cx="465132" cy="465132"/>
                </a:xfrm>
                <a:prstGeom prst="rect">
                  <a:avLst/>
                </a:prstGeom>
              </p:spPr>
            </p:pic>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16025" y="642998"/>
                  <a:ext cx="465132" cy="465132"/>
                </a:xfrm>
                <a:prstGeom prst="rect">
                  <a:avLst/>
                </a:prstGeom>
              </p:spPr>
            </p:pic>
            <p:pic>
              <p:nvPicPr>
                <p:cNvPr id="16" name="图片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01445" y="761530"/>
                  <a:ext cx="465132" cy="465132"/>
                </a:xfrm>
                <a:prstGeom prst="rect">
                  <a:avLst/>
                </a:prstGeom>
              </p:spPr>
            </p:pic>
          </p:grpSp>
          <p:grpSp>
            <p:nvGrpSpPr>
              <p:cNvPr id="17" name="组 79"/>
              <p:cNvGrpSpPr/>
              <p:nvPr/>
            </p:nvGrpSpPr>
            <p:grpSpPr>
              <a:xfrm>
                <a:off x="647283" y="1034961"/>
                <a:ext cx="2826191" cy="757978"/>
                <a:chOff x="-1391030" y="1322406"/>
                <a:chExt cx="2826191" cy="757978"/>
              </a:xfrm>
            </p:grpSpPr>
            <p:pic>
              <p:nvPicPr>
                <p:cNvPr id="18" name="图片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0029" y="1322406"/>
                  <a:ext cx="465132" cy="465132"/>
                </a:xfrm>
                <a:prstGeom prst="rect">
                  <a:avLst/>
                </a:prstGeom>
              </p:spPr>
            </p:pic>
            <p:sp>
              <p:nvSpPr>
                <p:cNvPr id="19" name="文本框 18"/>
                <p:cNvSpPr txBox="1"/>
                <p:nvPr/>
              </p:nvSpPr>
              <p:spPr>
                <a:xfrm>
                  <a:off x="1010074" y="1729507"/>
                  <a:ext cx="369012"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SLB</a:t>
                  </a:r>
                  <a:endParaRPr kumimoji="1" lang="zh-CN" altLang="en-US" sz="1000" b="0" dirty="0">
                    <a:solidFill>
                      <a:prstClr val="black"/>
                    </a:solidFill>
                    <a:latin typeface="Calibri"/>
                    <a:ea typeface="宋体" panose="02010600030101010101" pitchFamily="2" charset="-122"/>
                  </a:endParaRPr>
                </a:p>
              </p:txBody>
            </p:sp>
            <p:sp>
              <p:nvSpPr>
                <p:cNvPr id="20" name="文本框 19"/>
                <p:cNvSpPr txBox="1"/>
                <p:nvPr/>
              </p:nvSpPr>
              <p:spPr>
                <a:xfrm>
                  <a:off x="-1391030" y="1782278"/>
                  <a:ext cx="425116"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User</a:t>
                  </a:r>
                  <a:endParaRPr kumimoji="1" lang="zh-CN" altLang="en-US" sz="1000" b="0" dirty="0">
                    <a:solidFill>
                      <a:prstClr val="black"/>
                    </a:solidFill>
                    <a:latin typeface="Calibri"/>
                    <a:ea typeface="宋体" panose="02010600030101010101" pitchFamily="2" charset="-122"/>
                  </a:endParaRPr>
                </a:p>
              </p:txBody>
            </p:sp>
            <p:sp>
              <p:nvSpPr>
                <p:cNvPr id="21" name="文本框 20"/>
                <p:cNvSpPr txBox="1"/>
                <p:nvPr/>
              </p:nvSpPr>
              <p:spPr>
                <a:xfrm>
                  <a:off x="-343274" y="1834163"/>
                  <a:ext cx="550151" cy="246221"/>
                </a:xfrm>
                <a:prstGeom prst="rect">
                  <a:avLst/>
                </a:prstGeom>
                <a:noFill/>
              </p:spPr>
              <p:txBody>
                <a:bodyPr wrap="none" rtlCol="0">
                  <a:spAutoFit/>
                </a:bodyPr>
                <a:lstStyle/>
                <a:p>
                  <a:pPr algn="l" defTabSz="914400" fontAlgn="auto">
                    <a:spcBef>
                      <a:spcPts val="0"/>
                    </a:spcBef>
                    <a:spcAft>
                      <a:spcPts val="0"/>
                    </a:spcAft>
                  </a:pPr>
                  <a:r>
                    <a:rPr kumimoji="1" lang="en-US" altLang="zh-CN" sz="1000" b="0" dirty="0" smtClean="0">
                      <a:solidFill>
                        <a:prstClr val="black"/>
                      </a:solidFill>
                      <a:latin typeface="Calibri"/>
                      <a:ea typeface="宋体" panose="02010600030101010101" pitchFamily="2" charset="-122"/>
                    </a:rPr>
                    <a:t>Mobile</a:t>
                  </a:r>
                  <a:endParaRPr kumimoji="1" lang="zh-CN" altLang="en-US" sz="1000" b="0" dirty="0">
                    <a:solidFill>
                      <a:prstClr val="black"/>
                    </a:solidFill>
                    <a:latin typeface="Calibri"/>
                    <a:ea typeface="宋体" panose="02010600030101010101" pitchFamily="2" charset="-122"/>
                  </a:endParaRPr>
                </a:p>
              </p:txBody>
            </p:sp>
          </p:grpSp>
          <p:grpSp>
            <p:nvGrpSpPr>
              <p:cNvPr id="22" name="组 78"/>
              <p:cNvGrpSpPr/>
              <p:nvPr/>
            </p:nvGrpSpPr>
            <p:grpSpPr>
              <a:xfrm>
                <a:off x="4138070" y="992663"/>
                <a:ext cx="465132" cy="657853"/>
                <a:chOff x="1998138" y="1287678"/>
                <a:chExt cx="465132" cy="657853"/>
              </a:xfrm>
            </p:grpSpPr>
            <p:pic>
              <p:nvPicPr>
                <p:cNvPr id="23" name="图片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98138" y="1287678"/>
                  <a:ext cx="465132" cy="465132"/>
                </a:xfrm>
                <a:prstGeom prst="rect">
                  <a:avLst/>
                </a:prstGeom>
              </p:spPr>
            </p:pic>
            <p:sp>
              <p:nvSpPr>
                <p:cNvPr id="24" name="文本框 23"/>
                <p:cNvSpPr txBox="1"/>
                <p:nvPr/>
              </p:nvSpPr>
              <p:spPr>
                <a:xfrm>
                  <a:off x="2011734" y="1683921"/>
                  <a:ext cx="437940" cy="261610"/>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CDN</a:t>
                  </a:r>
                  <a:endParaRPr kumimoji="1" lang="zh-CN" altLang="en-US" sz="1050" b="0" dirty="0">
                    <a:solidFill>
                      <a:prstClr val="black"/>
                    </a:solidFill>
                    <a:latin typeface="Calibri"/>
                    <a:ea typeface="宋体" panose="02010600030101010101" pitchFamily="2" charset="-122"/>
                  </a:endParaRPr>
                </a:p>
              </p:txBody>
            </p:sp>
          </p:grpSp>
          <p:grpSp>
            <p:nvGrpSpPr>
              <p:cNvPr id="25" name="组 77"/>
              <p:cNvGrpSpPr/>
              <p:nvPr/>
            </p:nvGrpSpPr>
            <p:grpSpPr>
              <a:xfrm>
                <a:off x="1000303" y="5397570"/>
                <a:ext cx="465132" cy="654637"/>
                <a:chOff x="4053437" y="786838"/>
                <a:chExt cx="465132" cy="654637"/>
              </a:xfrm>
            </p:grpSpPr>
            <p:pic>
              <p:nvPicPr>
                <p:cNvPr id="26" name="图片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53437" y="786838"/>
                  <a:ext cx="465132" cy="465132"/>
                </a:xfrm>
                <a:prstGeom prst="rect">
                  <a:avLst/>
                </a:prstGeom>
              </p:spPr>
            </p:pic>
            <p:sp>
              <p:nvSpPr>
                <p:cNvPr id="27" name="文本框 26"/>
                <p:cNvSpPr txBox="1"/>
                <p:nvPr/>
              </p:nvSpPr>
              <p:spPr>
                <a:xfrm>
                  <a:off x="4095337" y="1187559"/>
                  <a:ext cx="385042"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ECS</a:t>
                  </a:r>
                  <a:endParaRPr kumimoji="1" lang="zh-CN" altLang="en-US" sz="1050" b="0" dirty="0">
                    <a:solidFill>
                      <a:prstClr val="black"/>
                    </a:solidFill>
                    <a:latin typeface="Calibri"/>
                    <a:ea typeface="宋体" panose="02010600030101010101" pitchFamily="2" charset="-122"/>
                  </a:endParaRPr>
                </a:p>
              </p:txBody>
            </p:sp>
          </p:grpSp>
          <p:grpSp>
            <p:nvGrpSpPr>
              <p:cNvPr id="28" name="组 83"/>
              <p:cNvGrpSpPr/>
              <p:nvPr/>
            </p:nvGrpSpPr>
            <p:grpSpPr>
              <a:xfrm>
                <a:off x="2088629" y="5368927"/>
                <a:ext cx="468000" cy="668695"/>
                <a:chOff x="5365078" y="882680"/>
                <a:chExt cx="468000" cy="668695"/>
              </a:xfrm>
            </p:grpSpPr>
            <p:pic>
              <p:nvPicPr>
                <p:cNvPr id="29" name="图片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65078" y="882680"/>
                  <a:ext cx="468000" cy="468000"/>
                </a:xfrm>
                <a:prstGeom prst="rect">
                  <a:avLst/>
                </a:prstGeom>
              </p:spPr>
            </p:pic>
            <p:sp>
              <p:nvSpPr>
                <p:cNvPr id="30" name="文本框 29"/>
                <p:cNvSpPr txBox="1"/>
                <p:nvPr/>
              </p:nvSpPr>
              <p:spPr>
                <a:xfrm>
                  <a:off x="5396939" y="1297459"/>
                  <a:ext cx="40427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DS</a:t>
                  </a:r>
                  <a:endParaRPr kumimoji="1" lang="zh-CN" altLang="en-US" sz="1050" b="0" dirty="0">
                    <a:solidFill>
                      <a:prstClr val="black"/>
                    </a:solidFill>
                    <a:latin typeface="Calibri"/>
                    <a:ea typeface="宋体" panose="02010600030101010101" pitchFamily="2" charset="-122"/>
                  </a:endParaRPr>
                </a:p>
              </p:txBody>
            </p:sp>
          </p:grpSp>
          <p:grpSp>
            <p:nvGrpSpPr>
              <p:cNvPr id="31" name="组 84"/>
              <p:cNvGrpSpPr/>
              <p:nvPr/>
            </p:nvGrpSpPr>
            <p:grpSpPr>
              <a:xfrm>
                <a:off x="4345315" y="5368927"/>
                <a:ext cx="479618" cy="631220"/>
                <a:chOff x="6337101" y="882263"/>
                <a:chExt cx="479618" cy="631220"/>
              </a:xfrm>
            </p:grpSpPr>
            <p:pic>
              <p:nvPicPr>
                <p:cNvPr id="32" name="图片 3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33" name="文本框 32"/>
                <p:cNvSpPr txBox="1"/>
                <p:nvPr/>
              </p:nvSpPr>
              <p:spPr>
                <a:xfrm>
                  <a:off x="6337101" y="1259567"/>
                  <a:ext cx="47961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err="1" smtClean="0">
                      <a:solidFill>
                        <a:prstClr val="black"/>
                      </a:solidFill>
                      <a:latin typeface="Calibri"/>
                      <a:ea typeface="宋体" panose="02010600030101010101" pitchFamily="2" charset="-122"/>
                    </a:rPr>
                    <a:t>Redis</a:t>
                  </a:r>
                  <a:endParaRPr kumimoji="1" lang="zh-CN" altLang="en-US" sz="1050" b="0" dirty="0">
                    <a:solidFill>
                      <a:prstClr val="black"/>
                    </a:solidFill>
                    <a:latin typeface="Calibri"/>
                    <a:ea typeface="宋体" panose="02010600030101010101" pitchFamily="2" charset="-122"/>
                  </a:endParaRPr>
                </a:p>
              </p:txBody>
            </p:sp>
          </p:grpSp>
          <p:grpSp>
            <p:nvGrpSpPr>
              <p:cNvPr id="34" name="组 85"/>
              <p:cNvGrpSpPr/>
              <p:nvPr/>
            </p:nvGrpSpPr>
            <p:grpSpPr>
              <a:xfrm>
                <a:off x="5503247" y="5368927"/>
                <a:ext cx="465132" cy="624754"/>
                <a:chOff x="7495215" y="854613"/>
                <a:chExt cx="465132" cy="624754"/>
              </a:xfrm>
            </p:grpSpPr>
            <p:pic>
              <p:nvPicPr>
                <p:cNvPr id="35" name="图片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495215" y="854613"/>
                  <a:ext cx="465132" cy="465132"/>
                </a:xfrm>
                <a:prstGeom prst="rect">
                  <a:avLst/>
                </a:prstGeom>
              </p:spPr>
            </p:pic>
            <p:sp>
              <p:nvSpPr>
                <p:cNvPr id="36" name="文本框 35"/>
                <p:cNvSpPr txBox="1"/>
                <p:nvPr/>
              </p:nvSpPr>
              <p:spPr>
                <a:xfrm>
                  <a:off x="7526444" y="1225451"/>
                  <a:ext cx="402674"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VPC</a:t>
                  </a:r>
                  <a:endParaRPr kumimoji="1" lang="zh-CN" altLang="en-US" sz="1050" b="0" dirty="0">
                    <a:solidFill>
                      <a:prstClr val="black"/>
                    </a:solidFill>
                    <a:latin typeface="Calibri"/>
                    <a:ea typeface="宋体" panose="02010600030101010101" pitchFamily="2" charset="-122"/>
                  </a:endParaRPr>
                </a:p>
              </p:txBody>
            </p:sp>
          </p:grpSp>
          <p:grpSp>
            <p:nvGrpSpPr>
              <p:cNvPr id="37" name="组 90"/>
              <p:cNvGrpSpPr/>
              <p:nvPr/>
            </p:nvGrpSpPr>
            <p:grpSpPr>
              <a:xfrm>
                <a:off x="477638" y="3820887"/>
                <a:ext cx="459322" cy="564962"/>
                <a:chOff x="4545094" y="1108130"/>
                <a:chExt cx="473926" cy="661786"/>
              </a:xfrm>
            </p:grpSpPr>
            <p:pic>
              <p:nvPicPr>
                <p:cNvPr id="38" name="图片 3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551020" y="1108130"/>
                  <a:ext cx="468000" cy="468000"/>
                </a:xfrm>
                <a:prstGeom prst="rect">
                  <a:avLst/>
                </a:prstGeom>
              </p:spPr>
            </p:pic>
            <p:sp>
              <p:nvSpPr>
                <p:cNvPr id="39" name="文本框 38"/>
                <p:cNvSpPr txBox="1"/>
                <p:nvPr/>
              </p:nvSpPr>
              <p:spPr>
                <a:xfrm>
                  <a:off x="4545094" y="1516000"/>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集群</a:t>
                  </a:r>
                  <a:endParaRPr kumimoji="1" lang="zh-CN" altLang="en-US" sz="1050" b="0" dirty="0">
                    <a:solidFill>
                      <a:prstClr val="black"/>
                    </a:solidFill>
                    <a:latin typeface="Calibri"/>
                    <a:ea typeface="宋体" panose="02010600030101010101" pitchFamily="2" charset="-122"/>
                  </a:endParaRPr>
                </a:p>
              </p:txBody>
            </p:sp>
          </p:grpSp>
          <p:pic>
            <p:nvPicPr>
              <p:cNvPr id="40" name="图片 3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0974" y="3904377"/>
                <a:ext cx="473600" cy="397983"/>
              </a:xfrm>
              <a:prstGeom prst="rect">
                <a:avLst/>
              </a:prstGeom>
            </p:spPr>
          </p:pic>
          <p:sp>
            <p:nvSpPr>
              <p:cNvPr id="41" name="文本框 40"/>
              <p:cNvSpPr txBox="1"/>
              <p:nvPr/>
            </p:nvSpPr>
            <p:spPr>
              <a:xfrm>
                <a:off x="432445" y="2089546"/>
                <a:ext cx="1153776" cy="567233"/>
              </a:xfrm>
              <a:prstGeom prst="rect">
                <a:avLst/>
              </a:prstGeom>
              <a:noFill/>
            </p:spPr>
            <p:txBody>
              <a:bodyPr wrap="none" rtlCol="0">
                <a:spAutoFit/>
              </a:bodyPr>
              <a:lstStyle/>
              <a:p>
                <a:pPr algn="l" defTabSz="914400" fontAlgn="auto">
                  <a:spcBef>
                    <a:spcPts val="0"/>
                  </a:spcBef>
                  <a:spcAft>
                    <a:spcPts val="0"/>
                  </a:spcAft>
                </a:pPr>
                <a:r>
                  <a:rPr kumimoji="1" lang="en-US" altLang="zh-CN" sz="1800" b="0" smtClean="0">
                    <a:solidFill>
                      <a:srgbClr val="4F81BD">
                        <a:lumMod val="75000"/>
                      </a:srgbClr>
                    </a:solidFill>
                    <a:latin typeface="Calibri"/>
                    <a:ea typeface="宋体" panose="02010600030101010101" pitchFamily="2" charset="-122"/>
                  </a:rPr>
                  <a:t>XCloud</a:t>
                </a:r>
                <a:endParaRPr kumimoji="1" lang="en-US" altLang="zh-CN" sz="1800" b="0" dirty="0" smtClean="0">
                  <a:solidFill>
                    <a:srgbClr val="4F81BD">
                      <a:lumMod val="75000"/>
                    </a:srgbClr>
                  </a:solidFill>
                  <a:latin typeface="Calibri"/>
                  <a:ea typeface="宋体" panose="02010600030101010101" pitchFamily="2" charset="-122"/>
                </a:endParaRPr>
              </a:p>
            </p:txBody>
          </p:sp>
          <p:sp>
            <p:nvSpPr>
              <p:cNvPr id="42" name="文本框 41"/>
              <p:cNvSpPr txBox="1"/>
              <p:nvPr/>
            </p:nvSpPr>
            <p:spPr>
              <a:xfrm>
                <a:off x="2994712" y="3213091"/>
                <a:ext cx="1246944" cy="369332"/>
              </a:xfrm>
              <a:prstGeom prst="rect">
                <a:avLst/>
              </a:prstGeom>
              <a:noFill/>
            </p:spPr>
            <p:txBody>
              <a:bodyPr wrap="none" rtlCol="0">
                <a:spAutoFit/>
              </a:bodyPr>
              <a:lstStyle/>
              <a:p>
                <a:pPr algn="l" defTabSz="914400" fontAlgn="auto">
                  <a:spcBef>
                    <a:spcPts val="0"/>
                  </a:spcBef>
                  <a:spcAft>
                    <a:spcPts val="0"/>
                  </a:spcAft>
                </a:pPr>
                <a:r>
                  <a:rPr kumimoji="1" lang="en-US" altLang="zh-CN" sz="1800" b="0" dirty="0" err="1" smtClean="0">
                    <a:solidFill>
                      <a:srgbClr val="1F497D">
                        <a:lumMod val="40000"/>
                        <a:lumOff val="60000"/>
                      </a:srgbClr>
                    </a:solidFill>
                    <a:latin typeface="Calibri"/>
                    <a:ea typeface="宋体" panose="02010600030101010101" pitchFamily="2" charset="-122"/>
                  </a:rPr>
                  <a:t>Zull</a:t>
                </a:r>
                <a:r>
                  <a:rPr kumimoji="1" lang="en-US" altLang="zh-CN" sz="1800" b="0" dirty="0" smtClean="0">
                    <a:solidFill>
                      <a:srgbClr val="1F497D">
                        <a:lumMod val="40000"/>
                        <a:lumOff val="60000"/>
                      </a:srgbClr>
                    </a:solidFill>
                    <a:latin typeface="Calibri"/>
                    <a:ea typeface="宋体" panose="02010600030101010101" pitchFamily="2" charset="-122"/>
                  </a:rPr>
                  <a:t>/Eureka</a:t>
                </a:r>
                <a:endParaRPr kumimoji="1" lang="zh-CN" altLang="en-US" sz="1800" b="0" dirty="0">
                  <a:solidFill>
                    <a:srgbClr val="1F497D">
                      <a:lumMod val="40000"/>
                      <a:lumOff val="60000"/>
                    </a:srgbClr>
                  </a:solidFill>
                  <a:latin typeface="Calibri"/>
                  <a:ea typeface="宋体" panose="02010600030101010101" pitchFamily="2" charset="-122"/>
                </a:endParaRPr>
              </a:p>
            </p:txBody>
          </p:sp>
          <p:sp>
            <p:nvSpPr>
              <p:cNvPr id="43" name="矩形 42"/>
              <p:cNvSpPr/>
              <p:nvPr/>
            </p:nvSpPr>
            <p:spPr>
              <a:xfrm>
                <a:off x="7803083" y="2161555"/>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44" name="矩形 43"/>
              <p:cNvSpPr/>
              <p:nvPr/>
            </p:nvSpPr>
            <p:spPr>
              <a:xfrm>
                <a:off x="7925090" y="2377579"/>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行为</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5" name="矩形 44"/>
              <p:cNvSpPr/>
              <p:nvPr/>
            </p:nvSpPr>
            <p:spPr>
              <a:xfrm>
                <a:off x="7925090" y="3290479"/>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业务</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6" name="矩形 45"/>
              <p:cNvSpPr/>
              <p:nvPr/>
            </p:nvSpPr>
            <p:spPr>
              <a:xfrm>
                <a:off x="7925090" y="4082567"/>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系统</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日志</a:t>
                </a:r>
              </a:p>
            </p:txBody>
          </p:sp>
          <p:sp>
            <p:nvSpPr>
              <p:cNvPr id="47" name="右箭头 46"/>
              <p:cNvSpPr/>
              <p:nvPr/>
            </p:nvSpPr>
            <p:spPr>
              <a:xfrm>
                <a:off x="7422116" y="3290254"/>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48" name="右箭头 47"/>
              <p:cNvSpPr/>
              <p:nvPr/>
            </p:nvSpPr>
            <p:spPr>
              <a:xfrm>
                <a:off x="8903708" y="257317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49" name="右箭头 48"/>
              <p:cNvSpPr/>
              <p:nvPr/>
            </p:nvSpPr>
            <p:spPr>
              <a:xfrm>
                <a:off x="8939641" y="3436547"/>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50" name="右箭头 49"/>
              <p:cNvSpPr/>
              <p:nvPr/>
            </p:nvSpPr>
            <p:spPr>
              <a:xfrm>
                <a:off x="8939641" y="430064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51" name="组 126"/>
              <p:cNvGrpSpPr/>
              <p:nvPr/>
            </p:nvGrpSpPr>
            <p:grpSpPr>
              <a:xfrm>
                <a:off x="6841157" y="3163757"/>
                <a:ext cx="740908" cy="772328"/>
                <a:chOff x="6620238" y="3163757"/>
                <a:chExt cx="740908" cy="772328"/>
              </a:xfrm>
            </p:grpSpPr>
            <p:pic>
              <p:nvPicPr>
                <p:cNvPr id="52" name="图片 5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697141" y="3163757"/>
                  <a:ext cx="468000" cy="468000"/>
                </a:xfrm>
                <a:prstGeom prst="rect">
                  <a:avLst/>
                </a:prstGeom>
              </p:spPr>
            </p:pic>
            <p:sp>
              <p:nvSpPr>
                <p:cNvPr id="53" name="文本框 52"/>
                <p:cNvSpPr txBox="1"/>
                <p:nvPr/>
              </p:nvSpPr>
              <p:spPr>
                <a:xfrm>
                  <a:off x="6620238" y="3682169"/>
                  <a:ext cx="740908"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日志收集</a:t>
                  </a:r>
                  <a:endParaRPr kumimoji="1" lang="zh-CN" altLang="en-US" sz="1050" b="0" dirty="0">
                    <a:solidFill>
                      <a:prstClr val="black"/>
                    </a:solidFill>
                    <a:latin typeface="Calibri"/>
                    <a:ea typeface="宋体" panose="02010600030101010101" pitchFamily="2" charset="-122"/>
                  </a:endParaRPr>
                </a:p>
              </p:txBody>
            </p:sp>
          </p:grpSp>
          <p:grpSp>
            <p:nvGrpSpPr>
              <p:cNvPr id="54" name="组 121"/>
              <p:cNvGrpSpPr/>
              <p:nvPr/>
            </p:nvGrpSpPr>
            <p:grpSpPr>
              <a:xfrm>
                <a:off x="9247428" y="2330138"/>
                <a:ext cx="721672" cy="693236"/>
                <a:chOff x="9026509" y="2330138"/>
                <a:chExt cx="721672" cy="693236"/>
              </a:xfrm>
            </p:grpSpPr>
            <p:pic>
              <p:nvPicPr>
                <p:cNvPr id="55" name="图片 5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128892" y="2330138"/>
                  <a:ext cx="468000" cy="468000"/>
                </a:xfrm>
                <a:prstGeom prst="rect">
                  <a:avLst/>
                </a:prstGeom>
              </p:spPr>
            </p:pic>
            <p:sp>
              <p:nvSpPr>
                <p:cNvPr id="56" name="文本框 55"/>
                <p:cNvSpPr txBox="1"/>
                <p:nvPr/>
              </p:nvSpPr>
              <p:spPr>
                <a:xfrm>
                  <a:off x="9026509" y="2769458"/>
                  <a:ext cx="721672"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行为分析</a:t>
                  </a:r>
                  <a:endParaRPr kumimoji="1" lang="zh-CN" altLang="en-US" sz="1050" b="0" dirty="0">
                    <a:solidFill>
                      <a:prstClr val="black"/>
                    </a:solidFill>
                    <a:latin typeface="Calibri"/>
                    <a:ea typeface="宋体" panose="02010600030101010101" pitchFamily="2" charset="-122"/>
                  </a:endParaRPr>
                </a:p>
              </p:txBody>
            </p:sp>
          </p:grpSp>
          <p:grpSp>
            <p:nvGrpSpPr>
              <p:cNvPr id="57" name="组 119"/>
              <p:cNvGrpSpPr/>
              <p:nvPr/>
            </p:nvGrpSpPr>
            <p:grpSpPr>
              <a:xfrm>
                <a:off x="9354318" y="3131438"/>
                <a:ext cx="836356" cy="468000"/>
                <a:chOff x="9133399" y="3059430"/>
                <a:chExt cx="836356" cy="468000"/>
              </a:xfrm>
            </p:grpSpPr>
            <p:pic>
              <p:nvPicPr>
                <p:cNvPr id="58" name="图片 5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3399" y="3059430"/>
                  <a:ext cx="468000" cy="468000"/>
                </a:xfrm>
                <a:prstGeom prst="rect">
                  <a:avLst/>
                </a:prstGeom>
              </p:spPr>
            </p:pic>
            <p:sp>
              <p:nvSpPr>
                <p:cNvPr id="59" name="文本框 58"/>
                <p:cNvSpPr txBox="1"/>
                <p:nvPr/>
              </p:nvSpPr>
              <p:spPr>
                <a:xfrm>
                  <a:off x="9515785" y="3163296"/>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查询</a:t>
                  </a:r>
                  <a:endParaRPr kumimoji="1" lang="zh-CN" altLang="en-US" sz="1050" b="0" dirty="0">
                    <a:solidFill>
                      <a:prstClr val="black"/>
                    </a:solidFill>
                    <a:latin typeface="Calibri"/>
                    <a:ea typeface="宋体" panose="02010600030101010101" pitchFamily="2" charset="-122"/>
                  </a:endParaRPr>
                </a:p>
              </p:txBody>
            </p:sp>
          </p:grpSp>
          <p:grpSp>
            <p:nvGrpSpPr>
              <p:cNvPr id="60" name="组 120"/>
              <p:cNvGrpSpPr/>
              <p:nvPr/>
            </p:nvGrpSpPr>
            <p:grpSpPr>
              <a:xfrm>
                <a:off x="9366332" y="3670422"/>
                <a:ext cx="864096" cy="435349"/>
                <a:chOff x="9145413" y="3709780"/>
                <a:chExt cx="864096" cy="435349"/>
              </a:xfrm>
            </p:grpSpPr>
            <p:pic>
              <p:nvPicPr>
                <p:cNvPr id="61" name="图片 6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145413" y="3709780"/>
                  <a:ext cx="468000" cy="435349"/>
                </a:xfrm>
                <a:prstGeom prst="rect">
                  <a:avLst/>
                </a:prstGeom>
              </p:spPr>
            </p:pic>
            <p:sp>
              <p:nvSpPr>
                <p:cNvPr id="62" name="文本框 61"/>
                <p:cNvSpPr txBox="1"/>
                <p:nvPr/>
              </p:nvSpPr>
              <p:spPr>
                <a:xfrm>
                  <a:off x="9555539" y="3809127"/>
                  <a:ext cx="453970"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归档</a:t>
                  </a:r>
                  <a:endParaRPr kumimoji="1" lang="zh-CN" altLang="en-US" sz="1050" b="0" dirty="0">
                    <a:solidFill>
                      <a:prstClr val="black"/>
                    </a:solidFill>
                    <a:latin typeface="Calibri"/>
                    <a:ea typeface="宋体" panose="02010600030101010101" pitchFamily="2" charset="-122"/>
                  </a:endParaRPr>
                </a:p>
              </p:txBody>
            </p:sp>
          </p:grpSp>
          <p:grpSp>
            <p:nvGrpSpPr>
              <p:cNvPr id="63" name="组 122"/>
              <p:cNvGrpSpPr/>
              <p:nvPr/>
            </p:nvGrpSpPr>
            <p:grpSpPr>
              <a:xfrm>
                <a:off x="9349811" y="4213835"/>
                <a:ext cx="534587" cy="653017"/>
                <a:chOff x="9128892" y="4213835"/>
                <a:chExt cx="534587" cy="653017"/>
              </a:xfrm>
            </p:grpSpPr>
            <p:pic>
              <p:nvPicPr>
                <p:cNvPr id="64" name="图片 6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128892" y="4213835"/>
                  <a:ext cx="468000" cy="468000"/>
                </a:xfrm>
                <a:prstGeom prst="rect">
                  <a:avLst/>
                </a:prstGeom>
              </p:spPr>
            </p:pic>
            <p:sp>
              <p:nvSpPr>
                <p:cNvPr id="65" name="文本框 64"/>
                <p:cNvSpPr txBox="1"/>
                <p:nvPr/>
              </p:nvSpPr>
              <p:spPr>
                <a:xfrm>
                  <a:off x="9148594" y="4612936"/>
                  <a:ext cx="514885"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ARMS</a:t>
                  </a:r>
                  <a:endParaRPr kumimoji="1" lang="zh-CN" altLang="en-US" sz="1050" b="0" dirty="0">
                    <a:solidFill>
                      <a:prstClr val="black"/>
                    </a:solidFill>
                    <a:latin typeface="Calibri"/>
                    <a:ea typeface="宋体" panose="02010600030101010101" pitchFamily="2" charset="-122"/>
                  </a:endParaRPr>
                </a:p>
              </p:txBody>
            </p:sp>
          </p:grpSp>
          <p:sp>
            <p:nvSpPr>
              <p:cNvPr id="66" name="右箭头 65"/>
              <p:cNvSpPr/>
              <p:nvPr/>
            </p:nvSpPr>
            <p:spPr>
              <a:xfrm>
                <a:off x="9971133" y="257317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7" name="右箭头 66"/>
              <p:cNvSpPr/>
              <p:nvPr/>
            </p:nvSpPr>
            <p:spPr>
              <a:xfrm>
                <a:off x="10061026" y="4300643"/>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68" name="矩形 67"/>
              <p:cNvSpPr/>
              <p:nvPr/>
            </p:nvSpPr>
            <p:spPr>
              <a:xfrm>
                <a:off x="10535651" y="4169083"/>
                <a:ext cx="676005" cy="455252"/>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实时</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运维</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69" name="矩形 68"/>
              <p:cNvSpPr/>
              <p:nvPr/>
            </p:nvSpPr>
            <p:spPr>
              <a:xfrm>
                <a:off x="10518460" y="2281129"/>
                <a:ext cx="676005" cy="288029"/>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推荐</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70" name="矩形 69"/>
              <p:cNvSpPr/>
              <p:nvPr/>
            </p:nvSpPr>
            <p:spPr>
              <a:xfrm>
                <a:off x="10518461" y="2805053"/>
                <a:ext cx="676005" cy="292606"/>
              </a:xfrm>
              <a:prstGeom prst="rect">
                <a:avLst/>
              </a:prstGeom>
              <a:solidFill>
                <a:srgbClr val="0070C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搜索</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71" name="组 130"/>
              <p:cNvGrpSpPr/>
              <p:nvPr/>
            </p:nvGrpSpPr>
            <p:grpSpPr>
              <a:xfrm>
                <a:off x="7053986" y="5335516"/>
                <a:ext cx="723275" cy="720591"/>
                <a:chOff x="7053986" y="5505765"/>
                <a:chExt cx="723275" cy="720591"/>
              </a:xfrm>
            </p:grpSpPr>
            <p:pic>
              <p:nvPicPr>
                <p:cNvPr id="72" name="图片 7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163971" y="5505765"/>
                  <a:ext cx="468000" cy="468000"/>
                </a:xfrm>
                <a:prstGeom prst="rect">
                  <a:avLst/>
                </a:prstGeom>
              </p:spPr>
            </p:pic>
            <p:sp>
              <p:nvSpPr>
                <p:cNvPr id="73" name="文本框 72"/>
                <p:cNvSpPr txBox="1"/>
                <p:nvPr/>
              </p:nvSpPr>
              <p:spPr>
                <a:xfrm>
                  <a:off x="7053986" y="5972440"/>
                  <a:ext cx="723275"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商业数据</a:t>
                  </a:r>
                  <a:endParaRPr kumimoji="1" lang="zh-CN" altLang="en-US" sz="1050" b="0" dirty="0">
                    <a:solidFill>
                      <a:prstClr val="black"/>
                    </a:solidFill>
                    <a:latin typeface="Calibri"/>
                    <a:ea typeface="宋体" panose="02010600030101010101" pitchFamily="2" charset="-122"/>
                  </a:endParaRPr>
                </a:p>
              </p:txBody>
            </p:sp>
          </p:grpSp>
          <p:grpSp>
            <p:nvGrpSpPr>
              <p:cNvPr id="74" name="组 131"/>
              <p:cNvGrpSpPr/>
              <p:nvPr/>
            </p:nvGrpSpPr>
            <p:grpSpPr>
              <a:xfrm>
                <a:off x="8417835" y="5329907"/>
                <a:ext cx="723275" cy="721916"/>
                <a:chOff x="8239898" y="5509979"/>
                <a:chExt cx="723275" cy="721916"/>
              </a:xfrm>
            </p:grpSpPr>
            <p:pic>
              <p:nvPicPr>
                <p:cNvPr id="75" name="图片 7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329118" y="5509979"/>
                  <a:ext cx="468000" cy="468000"/>
                </a:xfrm>
                <a:prstGeom prst="rect">
                  <a:avLst/>
                </a:prstGeom>
              </p:spPr>
            </p:pic>
            <p:sp>
              <p:nvSpPr>
                <p:cNvPr id="76" name="文本框 75"/>
                <p:cNvSpPr txBox="1"/>
                <p:nvPr/>
              </p:nvSpPr>
              <p:spPr>
                <a:xfrm>
                  <a:off x="8239898" y="5977979"/>
                  <a:ext cx="723275"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数据仓库</a:t>
                  </a:r>
                  <a:endParaRPr kumimoji="1" lang="zh-CN" altLang="en-US" sz="1050" b="0" dirty="0">
                    <a:solidFill>
                      <a:prstClr val="black"/>
                    </a:solidFill>
                    <a:latin typeface="Calibri"/>
                    <a:ea typeface="宋体" panose="02010600030101010101" pitchFamily="2" charset="-122"/>
                  </a:endParaRPr>
                </a:p>
              </p:txBody>
            </p:sp>
          </p:grpSp>
          <p:grpSp>
            <p:nvGrpSpPr>
              <p:cNvPr id="77" name="组 132"/>
              <p:cNvGrpSpPr/>
              <p:nvPr/>
            </p:nvGrpSpPr>
            <p:grpSpPr>
              <a:xfrm>
                <a:off x="9742770" y="5329907"/>
                <a:ext cx="830677" cy="664746"/>
                <a:chOff x="9361437" y="5457249"/>
                <a:chExt cx="830677" cy="664746"/>
              </a:xfrm>
            </p:grpSpPr>
            <p:pic>
              <p:nvPicPr>
                <p:cNvPr id="78" name="图片 7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541509" y="5457249"/>
                  <a:ext cx="468000" cy="468000"/>
                </a:xfrm>
                <a:prstGeom prst="rect">
                  <a:avLst/>
                </a:prstGeom>
              </p:spPr>
            </p:pic>
            <p:sp>
              <p:nvSpPr>
                <p:cNvPr id="79" name="文本框 78"/>
                <p:cNvSpPr txBox="1"/>
                <p:nvPr/>
              </p:nvSpPr>
              <p:spPr>
                <a:xfrm>
                  <a:off x="9361437" y="5868079"/>
                  <a:ext cx="830677" cy="253916"/>
                </a:xfrm>
                <a:prstGeom prst="rect">
                  <a:avLst/>
                </a:prstGeom>
                <a:noFill/>
              </p:spPr>
              <p:txBody>
                <a:bodyPr wrap="none" rtlCol="0">
                  <a:spAutoFit/>
                </a:bodyPr>
                <a:lstStyle/>
                <a:p>
                  <a:pPr algn="l" defTabSz="914400" fontAlgn="auto">
                    <a:spcBef>
                      <a:spcPts val="0"/>
                    </a:spcBef>
                    <a:spcAft>
                      <a:spcPts val="0"/>
                    </a:spcAft>
                  </a:pPr>
                  <a:r>
                    <a:rPr kumimoji="1" lang="zh-CN" altLang="en-US" sz="1050" b="0" dirty="0" smtClean="0">
                      <a:solidFill>
                        <a:prstClr val="black"/>
                      </a:solidFill>
                      <a:latin typeface="Calibri"/>
                      <a:ea typeface="宋体" panose="02010600030101010101" pitchFamily="2" charset="-122"/>
                    </a:rPr>
                    <a:t>数据分析</a:t>
                  </a:r>
                  <a:r>
                    <a:rPr kumimoji="1" lang="en-US" altLang="zh-CN" sz="1050" b="0" dirty="0" smtClean="0">
                      <a:solidFill>
                        <a:prstClr val="black"/>
                      </a:solidFill>
                      <a:latin typeface="Calibri"/>
                      <a:ea typeface="宋体" panose="02010600030101010101" pitchFamily="2" charset="-122"/>
                    </a:rPr>
                    <a:t>BI</a:t>
                  </a:r>
                  <a:endParaRPr kumimoji="1" lang="zh-CN" altLang="en-US" sz="1050" b="0" dirty="0">
                    <a:solidFill>
                      <a:prstClr val="black"/>
                    </a:solidFill>
                    <a:latin typeface="Calibri"/>
                    <a:ea typeface="宋体" panose="02010600030101010101" pitchFamily="2" charset="-122"/>
                  </a:endParaRPr>
                </a:p>
              </p:txBody>
            </p:sp>
          </p:grpSp>
          <p:sp>
            <p:nvSpPr>
              <p:cNvPr id="80" name="右箭头 79"/>
              <p:cNvSpPr/>
              <p:nvPr/>
            </p:nvSpPr>
            <p:spPr>
              <a:xfrm>
                <a:off x="7951019" y="5494869"/>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1" name="右箭头 80"/>
              <p:cNvSpPr/>
              <p:nvPr/>
            </p:nvSpPr>
            <p:spPr>
              <a:xfrm>
                <a:off x="9334697" y="5517824"/>
                <a:ext cx="259295" cy="237176"/>
              </a:xfrm>
              <a:prstGeom prs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cxnSp>
            <p:nvCxnSpPr>
              <p:cNvPr id="82" name="直线连接符 138"/>
              <p:cNvCxnSpPr/>
              <p:nvPr/>
            </p:nvCxnSpPr>
            <p:spPr>
              <a:xfrm flipH="1">
                <a:off x="144413" y="1955312"/>
                <a:ext cx="11233248" cy="0"/>
              </a:xfrm>
              <a:prstGeom prst="line">
                <a:avLst/>
              </a:prstGeom>
              <a:noFill/>
              <a:ln w="9525" cap="flat" cmpd="sng" algn="ctr">
                <a:solidFill>
                  <a:srgbClr val="F79646">
                    <a:shade val="95000"/>
                    <a:satMod val="105000"/>
                  </a:srgbClr>
                </a:solidFill>
                <a:prstDash val="sysDot"/>
              </a:ln>
              <a:effectLst/>
            </p:spPr>
          </p:cxnSp>
          <p:cxnSp>
            <p:nvCxnSpPr>
              <p:cNvPr id="83" name="直线连接符 143"/>
              <p:cNvCxnSpPr/>
              <p:nvPr/>
            </p:nvCxnSpPr>
            <p:spPr>
              <a:xfrm flipH="1">
                <a:off x="6768751" y="4962785"/>
                <a:ext cx="4608910" cy="7082"/>
              </a:xfrm>
              <a:prstGeom prst="line">
                <a:avLst/>
              </a:prstGeom>
              <a:noFill/>
              <a:ln w="9525" cap="flat" cmpd="sng" algn="ctr">
                <a:solidFill>
                  <a:srgbClr val="F79646">
                    <a:shade val="95000"/>
                    <a:satMod val="105000"/>
                  </a:srgbClr>
                </a:solidFill>
                <a:prstDash val="sysDot"/>
              </a:ln>
              <a:effectLst/>
            </p:spPr>
          </p:cxnSp>
          <p:sp>
            <p:nvSpPr>
              <p:cNvPr id="84" name="文本框 83"/>
              <p:cNvSpPr txBox="1"/>
              <p:nvPr/>
            </p:nvSpPr>
            <p:spPr>
              <a:xfrm>
                <a:off x="10100780" y="1480015"/>
                <a:ext cx="1107996" cy="369332"/>
              </a:xfrm>
              <a:prstGeom prst="rect">
                <a:avLst/>
              </a:prstGeom>
              <a:noFill/>
            </p:spPr>
            <p:txBody>
              <a:bodyPr wrap="none" rtlCol="0">
                <a:spAutoFit/>
              </a:bodyPr>
              <a:lstStyle/>
              <a:p>
                <a:pPr algn="l" defTabSz="914400" fontAlgn="auto">
                  <a:spcBef>
                    <a:spcPts val="0"/>
                  </a:spcBef>
                  <a:spcAft>
                    <a:spcPts val="0"/>
                  </a:spcAft>
                </a:pPr>
                <a:r>
                  <a:rPr kumimoji="1" lang="zh-CN" altLang="en-US" sz="1800" b="0" dirty="0" smtClean="0">
                    <a:solidFill>
                      <a:srgbClr val="4F81BD">
                        <a:lumMod val="75000"/>
                      </a:srgbClr>
                    </a:solidFill>
                    <a:latin typeface="Calibri"/>
                    <a:ea typeface="宋体" panose="02010600030101010101" pitchFamily="2" charset="-122"/>
                  </a:rPr>
                  <a:t>异构环境</a:t>
                </a:r>
                <a:endParaRPr kumimoji="1" lang="en-US" altLang="zh-CN" sz="1800" b="0" dirty="0" smtClean="0">
                  <a:solidFill>
                    <a:srgbClr val="4F81BD">
                      <a:lumMod val="75000"/>
                    </a:srgbClr>
                  </a:solidFill>
                  <a:latin typeface="Calibri"/>
                  <a:ea typeface="宋体" panose="02010600030101010101" pitchFamily="2" charset="-122"/>
                </a:endParaRPr>
              </a:p>
            </p:txBody>
          </p:sp>
          <p:sp>
            <p:nvSpPr>
              <p:cNvPr id="85" name="左右箭头 84"/>
              <p:cNvSpPr/>
              <p:nvPr/>
            </p:nvSpPr>
            <p:spPr>
              <a:xfrm>
                <a:off x="6446711" y="1085321"/>
                <a:ext cx="500860" cy="282609"/>
              </a:xfrm>
              <a:prstGeom prst="leftRightArrow">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86" name="组 157"/>
              <p:cNvGrpSpPr/>
              <p:nvPr/>
            </p:nvGrpSpPr>
            <p:grpSpPr>
              <a:xfrm>
                <a:off x="5533537" y="907790"/>
                <a:ext cx="878767" cy="803509"/>
                <a:chOff x="5040957" y="865411"/>
                <a:chExt cx="878767" cy="803509"/>
              </a:xfrm>
            </p:grpSpPr>
            <p:pic>
              <p:nvPicPr>
                <p:cNvPr id="87" name="图片 8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254971" y="865411"/>
                  <a:ext cx="468000" cy="406825"/>
                </a:xfrm>
                <a:prstGeom prst="rect">
                  <a:avLst/>
                </a:prstGeom>
              </p:spPr>
            </p:pic>
            <p:sp>
              <p:nvSpPr>
                <p:cNvPr id="88" name="文本框 87"/>
                <p:cNvSpPr txBox="1"/>
                <p:nvPr/>
              </p:nvSpPr>
              <p:spPr>
                <a:xfrm>
                  <a:off x="5040957" y="1253422"/>
                  <a:ext cx="878767" cy="415498"/>
                </a:xfrm>
                <a:prstGeom prst="rect">
                  <a:avLst/>
                </a:prstGeom>
                <a:noFill/>
              </p:spPr>
              <p:txBody>
                <a:bodyPr wrap="none" rtlCol="0">
                  <a:spAutoFit/>
                </a:bodyPr>
                <a:lstStyle/>
                <a:p>
                  <a:pPr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Gateway</a:t>
                  </a:r>
                  <a:r>
                    <a:rPr kumimoji="1" lang="zh-CN" altLang="en-US" sz="1050" b="0" dirty="0" smtClean="0">
                      <a:solidFill>
                        <a:prstClr val="black"/>
                      </a:solidFill>
                      <a:latin typeface="Calibri"/>
                      <a:ea typeface="宋体" panose="02010600030101010101" pitchFamily="2" charset="-122"/>
                    </a:rPr>
                    <a:t> </a:t>
                  </a:r>
                  <a:r>
                    <a:rPr kumimoji="1" lang="en-US" altLang="zh-CN" sz="1050" b="0" dirty="0" smtClean="0">
                      <a:solidFill>
                        <a:prstClr val="black"/>
                      </a:solidFill>
                      <a:latin typeface="Calibri"/>
                      <a:ea typeface="宋体" panose="02010600030101010101" pitchFamily="2" charset="-122"/>
                    </a:rPr>
                    <a:t>API</a:t>
                  </a:r>
                </a:p>
                <a:p>
                  <a:pPr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estful</a:t>
                  </a:r>
                  <a:endParaRPr kumimoji="1" lang="zh-CN" altLang="en-US" sz="1050" b="0" dirty="0">
                    <a:solidFill>
                      <a:prstClr val="black"/>
                    </a:solidFill>
                    <a:latin typeface="Calibri"/>
                    <a:ea typeface="宋体" panose="02010600030101010101" pitchFamily="2" charset="-122"/>
                  </a:endParaRPr>
                </a:p>
              </p:txBody>
            </p:sp>
          </p:grpSp>
          <p:grpSp>
            <p:nvGrpSpPr>
              <p:cNvPr id="89" name="组 160"/>
              <p:cNvGrpSpPr/>
              <p:nvPr/>
            </p:nvGrpSpPr>
            <p:grpSpPr>
              <a:xfrm>
                <a:off x="6993795" y="866306"/>
                <a:ext cx="777777" cy="709200"/>
                <a:chOff x="7246967" y="1116672"/>
                <a:chExt cx="777777" cy="709200"/>
              </a:xfrm>
            </p:grpSpPr>
            <p:pic>
              <p:nvPicPr>
                <p:cNvPr id="90" name="图片 8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376119" y="1116672"/>
                  <a:ext cx="468000" cy="468000"/>
                </a:xfrm>
                <a:prstGeom prst="rect">
                  <a:avLst/>
                </a:prstGeom>
              </p:spPr>
            </p:pic>
            <p:sp>
              <p:nvSpPr>
                <p:cNvPr id="91" name="文本框 90"/>
                <p:cNvSpPr txBox="1"/>
                <p:nvPr/>
              </p:nvSpPr>
              <p:spPr>
                <a:xfrm>
                  <a:off x="7246967" y="1571956"/>
                  <a:ext cx="777777"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Restful</a:t>
                  </a:r>
                  <a:r>
                    <a:rPr kumimoji="1" lang="zh-CN" altLang="en-US" sz="1050" b="0" dirty="0" smtClean="0">
                      <a:solidFill>
                        <a:prstClr val="black"/>
                      </a:solidFill>
                      <a:latin typeface="Calibri"/>
                      <a:ea typeface="宋体" panose="02010600030101010101" pitchFamily="2" charset="-122"/>
                    </a:rPr>
                    <a:t> </a:t>
                  </a:r>
                  <a:r>
                    <a:rPr kumimoji="1" lang="en-US" altLang="zh-CN" sz="1050" b="0" dirty="0" smtClean="0">
                      <a:solidFill>
                        <a:prstClr val="black"/>
                      </a:solidFill>
                      <a:latin typeface="Calibri"/>
                      <a:ea typeface="宋体" panose="02010600030101010101" pitchFamily="2" charset="-122"/>
                    </a:rPr>
                    <a:t>API</a:t>
                  </a:r>
                  <a:endParaRPr kumimoji="1" lang="zh-CN" altLang="en-US" sz="1050" b="0" dirty="0">
                    <a:solidFill>
                      <a:prstClr val="black"/>
                    </a:solidFill>
                    <a:latin typeface="Calibri"/>
                    <a:ea typeface="宋体" panose="02010600030101010101" pitchFamily="2" charset="-122"/>
                  </a:endParaRPr>
                </a:p>
              </p:txBody>
            </p:sp>
          </p:grpSp>
          <p:grpSp>
            <p:nvGrpSpPr>
              <p:cNvPr id="99" name="组 5"/>
              <p:cNvGrpSpPr/>
              <p:nvPr/>
            </p:nvGrpSpPr>
            <p:grpSpPr>
              <a:xfrm>
                <a:off x="3240908" y="5390881"/>
                <a:ext cx="468000" cy="632545"/>
                <a:chOff x="4885566" y="270035"/>
                <a:chExt cx="468000" cy="632545"/>
              </a:xfrm>
            </p:grpSpPr>
            <p:pic>
              <p:nvPicPr>
                <p:cNvPr id="100" name="图片 99"/>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101" name="文本框 100"/>
                <p:cNvSpPr txBox="1"/>
                <p:nvPr/>
              </p:nvSpPr>
              <p:spPr>
                <a:xfrm>
                  <a:off x="4914340" y="648664"/>
                  <a:ext cx="399468" cy="253916"/>
                </a:xfrm>
                <a:prstGeom prst="rect">
                  <a:avLst/>
                </a:prstGeom>
                <a:noFill/>
              </p:spPr>
              <p:txBody>
                <a:bodyPr wrap="none" rtlCol="0">
                  <a:spAutoFit/>
                </a:bodyPr>
                <a:lstStyle/>
                <a:p>
                  <a:pPr algn="l" defTabSz="914400" fontAlgn="auto">
                    <a:spcBef>
                      <a:spcPts val="0"/>
                    </a:spcBef>
                    <a:spcAft>
                      <a:spcPts val="0"/>
                    </a:spcAft>
                  </a:pPr>
                  <a:r>
                    <a:rPr kumimoji="1" lang="en-US" altLang="zh-CN" sz="1050" b="0" dirty="0" smtClean="0">
                      <a:solidFill>
                        <a:prstClr val="black"/>
                      </a:solidFill>
                      <a:latin typeface="Calibri"/>
                      <a:ea typeface="宋体" panose="02010600030101010101" pitchFamily="2" charset="-122"/>
                    </a:rPr>
                    <a:t>OSS</a:t>
                  </a:r>
                  <a:endParaRPr kumimoji="1" lang="zh-CN" altLang="en-US" sz="1050" b="0" dirty="0">
                    <a:solidFill>
                      <a:prstClr val="black"/>
                    </a:solidFill>
                    <a:latin typeface="Calibri"/>
                    <a:ea typeface="宋体" panose="02010600030101010101" pitchFamily="2" charset="-122"/>
                  </a:endParaRPr>
                </a:p>
              </p:txBody>
            </p:sp>
          </p:grpSp>
        </p:grpSp>
        <p:cxnSp>
          <p:nvCxnSpPr>
            <p:cNvPr id="102" name="直线连接符 136"/>
            <p:cNvCxnSpPr/>
            <p:nvPr/>
          </p:nvCxnSpPr>
          <p:spPr>
            <a:xfrm>
              <a:off x="5138598" y="655841"/>
              <a:ext cx="2903" cy="1282578"/>
            </a:xfrm>
            <a:prstGeom prst="line">
              <a:avLst/>
            </a:prstGeom>
            <a:ln>
              <a:solidFill>
                <a:srgbClr val="6E5004"/>
              </a:solidFill>
              <a:prstDash val="sysDot"/>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1165030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后端技术体系</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6</a:t>
            </a:fld>
            <a:endParaRPr lang="en-US"/>
          </a:p>
        </p:txBody>
      </p:sp>
      <p:grpSp>
        <p:nvGrpSpPr>
          <p:cNvPr id="165" name="组合 164"/>
          <p:cNvGrpSpPr/>
          <p:nvPr/>
        </p:nvGrpSpPr>
        <p:grpSpPr>
          <a:xfrm>
            <a:off x="274416" y="659859"/>
            <a:ext cx="8650529" cy="4139624"/>
            <a:chOff x="216421" y="308599"/>
            <a:chExt cx="11004113" cy="6029420"/>
          </a:xfrm>
        </p:grpSpPr>
        <p:sp>
          <p:nvSpPr>
            <p:cNvPr id="103" name="云形 102"/>
            <p:cNvSpPr/>
            <p:nvPr/>
          </p:nvSpPr>
          <p:spPr>
            <a:xfrm>
              <a:off x="216421" y="2536329"/>
              <a:ext cx="720080" cy="360040"/>
            </a:xfrm>
            <a:prstGeom prst="cloud">
              <a:avLst/>
            </a:prstGeom>
            <a:solidFill>
              <a:srgbClr val="9BBB59">
                <a:lumMod val="60000"/>
                <a:lumOff val="40000"/>
              </a:srgbClr>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104" name="组 92"/>
            <p:cNvGrpSpPr/>
            <p:nvPr/>
          </p:nvGrpSpPr>
          <p:grpSpPr>
            <a:xfrm>
              <a:off x="4260096" y="2207456"/>
              <a:ext cx="2808312" cy="1224136"/>
              <a:chOff x="3528789" y="361356"/>
              <a:chExt cx="2808312" cy="1224136"/>
            </a:xfrm>
          </p:grpSpPr>
          <p:sp>
            <p:nvSpPr>
              <p:cNvPr id="105" name="矩形 104"/>
              <p:cNvSpPr/>
              <p:nvPr/>
            </p:nvSpPr>
            <p:spPr>
              <a:xfrm>
                <a:off x="3528789" y="361356"/>
                <a:ext cx="2808312" cy="1224136"/>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服务注册与发现中心</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6" name="矩形 105"/>
              <p:cNvSpPr/>
              <p:nvPr/>
            </p:nvSpPr>
            <p:spPr>
              <a:xfrm>
                <a:off x="4335060" y="446000"/>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Eureka</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1</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7" name="矩形 106"/>
              <p:cNvSpPr/>
              <p:nvPr/>
            </p:nvSpPr>
            <p:spPr>
              <a:xfrm>
                <a:off x="5070098" y="1123593"/>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Eureka</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3</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08" name="矩形 107"/>
              <p:cNvSpPr/>
              <p:nvPr/>
            </p:nvSpPr>
            <p:spPr>
              <a:xfrm>
                <a:off x="3660099" y="1123593"/>
                <a:ext cx="1048419" cy="404318"/>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Eureka</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2</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grpSp>
          <p:nvGrpSpPr>
            <p:cNvPr id="109" name="组 141"/>
            <p:cNvGrpSpPr/>
            <p:nvPr/>
          </p:nvGrpSpPr>
          <p:grpSpPr>
            <a:xfrm>
              <a:off x="1571462" y="2198395"/>
              <a:ext cx="1728193" cy="1203346"/>
              <a:chOff x="1728588" y="2233563"/>
              <a:chExt cx="1728193" cy="1203346"/>
            </a:xfrm>
          </p:grpSpPr>
          <p:sp>
            <p:nvSpPr>
              <p:cNvPr id="110" name="矩形 109"/>
              <p:cNvSpPr/>
              <p:nvPr/>
            </p:nvSpPr>
            <p:spPr>
              <a:xfrm>
                <a:off x="1728588" y="2233563"/>
                <a:ext cx="1728193" cy="1203346"/>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路由与过滤</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cs typeface="+mn-cs"/>
                  </a:rPr>
                  <a:t>zuul</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11" name="矩形 110"/>
              <p:cNvSpPr/>
              <p:nvPr/>
            </p:nvSpPr>
            <p:spPr>
              <a:xfrm>
                <a:off x="1820855"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12" name="矩形 111"/>
              <p:cNvSpPr/>
              <p:nvPr/>
            </p:nvSpPr>
            <p:spPr>
              <a:xfrm>
                <a:off x="2335303"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13" name="矩形 112"/>
              <p:cNvSpPr/>
              <p:nvPr/>
            </p:nvSpPr>
            <p:spPr>
              <a:xfrm>
                <a:off x="2839359"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14" name="组 147"/>
            <p:cNvGrpSpPr/>
            <p:nvPr/>
          </p:nvGrpSpPr>
          <p:grpSpPr>
            <a:xfrm>
              <a:off x="8534465" y="2198395"/>
              <a:ext cx="2376264" cy="1185380"/>
              <a:chOff x="8713365" y="2003733"/>
              <a:chExt cx="2376264" cy="1185380"/>
            </a:xfrm>
          </p:grpSpPr>
          <p:grpSp>
            <p:nvGrpSpPr>
              <p:cNvPr id="115" name="组 148"/>
              <p:cNvGrpSpPr/>
              <p:nvPr/>
            </p:nvGrpSpPr>
            <p:grpSpPr>
              <a:xfrm>
                <a:off x="8713365" y="2003733"/>
                <a:ext cx="1656184" cy="1185380"/>
                <a:chOff x="7921278" y="4825851"/>
                <a:chExt cx="1656184" cy="1080120"/>
              </a:xfrm>
            </p:grpSpPr>
            <p:sp>
              <p:nvSpPr>
                <p:cNvPr id="119" name="矩形 118"/>
                <p:cNvSpPr/>
                <p:nvPr/>
              </p:nvSpPr>
              <p:spPr>
                <a:xfrm>
                  <a:off x="7921278" y="4825851"/>
                  <a:ext cx="1656184" cy="1080120"/>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cs typeface="+mn-cs"/>
                    </a:rPr>
                    <a:t>Config</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a:t>
                  </a:r>
                </a:p>
              </p:txBody>
            </p:sp>
            <p:sp>
              <p:nvSpPr>
                <p:cNvPr id="120" name="矩形 119"/>
                <p:cNvSpPr/>
                <p:nvPr/>
              </p:nvSpPr>
              <p:spPr>
                <a:xfrm>
                  <a:off x="8017624"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1" name="矩形 120"/>
                <p:cNvSpPr/>
                <p:nvPr/>
              </p:nvSpPr>
              <p:spPr>
                <a:xfrm>
                  <a:off x="8532072"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22" name="矩形 121"/>
                <p:cNvSpPr/>
                <p:nvPr/>
              </p:nvSpPr>
              <p:spPr>
                <a:xfrm>
                  <a:off x="9036128" y="525789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16" name="组 149"/>
              <p:cNvGrpSpPr/>
              <p:nvPr/>
            </p:nvGrpSpPr>
            <p:grpSpPr>
              <a:xfrm>
                <a:off x="10585573" y="2071671"/>
                <a:ext cx="504056" cy="1037024"/>
                <a:chOff x="10801597" y="4220875"/>
                <a:chExt cx="504056" cy="1037024"/>
              </a:xfrm>
            </p:grpSpPr>
            <p:sp>
              <p:nvSpPr>
                <p:cNvPr id="117" name="罐形 150"/>
                <p:cNvSpPr/>
                <p:nvPr/>
              </p:nvSpPr>
              <p:spPr>
                <a:xfrm>
                  <a:off x="10801597" y="4220875"/>
                  <a:ext cx="504056" cy="504056"/>
                </a:xfrm>
                <a:prstGeom prst="can">
                  <a:avLst/>
                </a:prstGeom>
                <a:solidFill>
                  <a:srgbClr val="00206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gi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18" name="罐形 154"/>
                <p:cNvSpPr/>
                <p:nvPr/>
              </p:nvSpPr>
              <p:spPr>
                <a:xfrm>
                  <a:off x="10801597" y="4753843"/>
                  <a:ext cx="504056" cy="504056"/>
                </a:xfrm>
                <a:prstGeom prst="can">
                  <a:avLst/>
                </a:prstGeom>
                <a:solidFill>
                  <a:srgbClr val="00206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svn</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grpSp>
          <p:nvGrpSpPr>
            <p:cNvPr id="123" name="组 164"/>
            <p:cNvGrpSpPr/>
            <p:nvPr/>
          </p:nvGrpSpPr>
          <p:grpSpPr>
            <a:xfrm>
              <a:off x="1067406" y="5905971"/>
              <a:ext cx="10153128" cy="432048"/>
              <a:chOff x="864493" y="5673897"/>
              <a:chExt cx="10153128" cy="432048"/>
            </a:xfrm>
          </p:grpSpPr>
          <p:sp>
            <p:nvSpPr>
              <p:cNvPr id="124" name="矩形 123"/>
              <p:cNvSpPr/>
              <p:nvPr/>
            </p:nvSpPr>
            <p:spPr>
              <a:xfrm>
                <a:off x="864493" y="5764427"/>
                <a:ext cx="10153128" cy="285560"/>
              </a:xfrm>
              <a:prstGeom prst="rect">
                <a:avLst/>
              </a:prstGeom>
              <a:solidFill>
                <a:srgbClr val="FFFF00"/>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25" name="矩形 124"/>
              <p:cNvSpPr/>
              <p:nvPr/>
            </p:nvSpPr>
            <p:spPr>
              <a:xfrm>
                <a:off x="8144022" y="5673897"/>
                <a:ext cx="1440160" cy="432048"/>
              </a:xfrm>
              <a:prstGeom prst="rect">
                <a:avLst/>
              </a:prstGeom>
              <a:solidFill>
                <a:srgbClr val="8064A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RabbitMQ</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nvGrpSpPr>
            <p:cNvPr id="126" name="组 167"/>
            <p:cNvGrpSpPr/>
            <p:nvPr/>
          </p:nvGrpSpPr>
          <p:grpSpPr>
            <a:xfrm>
              <a:off x="4339330" y="308599"/>
              <a:ext cx="1713742" cy="1172900"/>
              <a:chOff x="7639966" y="1069328"/>
              <a:chExt cx="1713742" cy="1080120"/>
            </a:xfrm>
          </p:grpSpPr>
          <p:sp>
            <p:nvSpPr>
              <p:cNvPr id="127" name="矩形 126"/>
              <p:cNvSpPr/>
              <p:nvPr/>
            </p:nvSpPr>
            <p:spPr>
              <a:xfrm>
                <a:off x="7639966" y="1069328"/>
                <a:ext cx="1713742" cy="1080120"/>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Turbine</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a:t>
                </a: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配置监视的集群</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a:t>
                </a:r>
              </a:p>
            </p:txBody>
          </p:sp>
          <p:sp>
            <p:nvSpPr>
              <p:cNvPr id="128" name="矩形 127"/>
              <p:cNvSpPr/>
              <p:nvPr/>
            </p:nvSpPr>
            <p:spPr>
              <a:xfrm>
                <a:off x="7755896"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29" name="矩形 128"/>
              <p:cNvSpPr/>
              <p:nvPr/>
            </p:nvSpPr>
            <p:spPr>
              <a:xfrm>
                <a:off x="8270344"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30" name="矩形 129"/>
              <p:cNvSpPr/>
              <p:nvPr/>
            </p:nvSpPr>
            <p:spPr>
              <a:xfrm>
                <a:off x="8774400" y="1528075"/>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grpSp>
          <p:nvGrpSpPr>
            <p:cNvPr id="131" name="组 172"/>
            <p:cNvGrpSpPr/>
            <p:nvPr/>
          </p:nvGrpSpPr>
          <p:grpSpPr>
            <a:xfrm>
              <a:off x="6276039" y="308599"/>
              <a:ext cx="1713742" cy="1186431"/>
              <a:chOff x="7639966" y="2202489"/>
              <a:chExt cx="1713742" cy="1153365"/>
            </a:xfrm>
          </p:grpSpPr>
          <p:sp>
            <p:nvSpPr>
              <p:cNvPr id="132" name="矩形 131"/>
              <p:cNvSpPr/>
              <p:nvPr/>
            </p:nvSpPr>
            <p:spPr>
              <a:xfrm>
                <a:off x="7639966" y="2202489"/>
                <a:ext cx="1713742" cy="1153365"/>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pring</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cloud</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leuth</a:t>
                </a: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a:t>
                </a: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cs typeface="+mn-cs"/>
                  </a:rPr>
                  <a:t>Zipkin</a:t>
                </a:r>
                <a:r>
                  <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 </a:t>
                </a: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Server)</a:t>
                </a:r>
              </a:p>
            </p:txBody>
          </p:sp>
          <p:sp>
            <p:nvSpPr>
              <p:cNvPr id="133" name="矩形 132"/>
              <p:cNvSpPr/>
              <p:nvPr/>
            </p:nvSpPr>
            <p:spPr>
              <a:xfrm>
                <a:off x="7755896"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34" name="矩形 133"/>
              <p:cNvSpPr/>
              <p:nvPr/>
            </p:nvSpPr>
            <p:spPr>
              <a:xfrm>
                <a:off x="8270344"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35" name="矩形 134"/>
              <p:cNvSpPr/>
              <p:nvPr/>
            </p:nvSpPr>
            <p:spPr>
              <a:xfrm>
                <a:off x="8774400" y="2737619"/>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cxnSp>
          <p:nvCxnSpPr>
            <p:cNvPr id="136" name="直线箭头连接符 177"/>
            <p:cNvCxnSpPr>
              <a:stCxn id="106" idx="3"/>
            </p:cNvCxnSpPr>
            <p:nvPr/>
          </p:nvCxnSpPr>
          <p:spPr>
            <a:xfrm>
              <a:off x="3299655" y="2800068"/>
              <a:ext cx="960441" cy="19456"/>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7" name="直线箭头连接符 178"/>
            <p:cNvCxnSpPr>
              <a:stCxn id="120" idx="2"/>
            </p:cNvCxnSpPr>
            <p:nvPr/>
          </p:nvCxnSpPr>
          <p:spPr>
            <a:xfrm>
              <a:off x="5196201" y="1481499"/>
              <a:ext cx="0" cy="762237"/>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8" name="直线箭头连接符 179"/>
            <p:cNvCxnSpPr/>
            <p:nvPr/>
          </p:nvCxnSpPr>
          <p:spPr>
            <a:xfrm>
              <a:off x="6906417" y="1542180"/>
              <a:ext cx="1" cy="663168"/>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39" name="直线箭头连接符 180"/>
            <p:cNvCxnSpPr>
              <a:stCxn id="122" idx="1"/>
            </p:cNvCxnSpPr>
            <p:nvPr/>
          </p:nvCxnSpPr>
          <p:spPr>
            <a:xfrm flipH="1">
              <a:off x="7068408" y="2791085"/>
              <a:ext cx="1466057" cy="28439"/>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40" name="直线箭头连接符 181"/>
            <p:cNvCxnSpPr/>
            <p:nvPr/>
          </p:nvCxnSpPr>
          <p:spPr>
            <a:xfrm flipV="1">
              <a:off x="5664252" y="3438473"/>
              <a:ext cx="1" cy="361283"/>
            </a:xfrm>
            <a:prstGeom prst="straightConnector1">
              <a:avLst/>
            </a:prstGeom>
            <a:noFill/>
            <a:ln w="28575" cap="flat" cmpd="sng" algn="ctr">
              <a:solidFill>
                <a:srgbClr val="4F81BD">
                  <a:shade val="95000"/>
                  <a:satMod val="105000"/>
                </a:srgbClr>
              </a:solidFill>
              <a:prstDash val="solid"/>
              <a:tailEnd type="triangle"/>
            </a:ln>
            <a:effectLst/>
          </p:spPr>
        </p:cxnSp>
        <p:grpSp>
          <p:nvGrpSpPr>
            <p:cNvPr id="141" name="组 182"/>
            <p:cNvGrpSpPr/>
            <p:nvPr/>
          </p:nvGrpSpPr>
          <p:grpSpPr>
            <a:xfrm>
              <a:off x="3830059" y="3849218"/>
              <a:ext cx="4297476" cy="1784771"/>
              <a:chOff x="4059194" y="3617144"/>
              <a:chExt cx="4297476" cy="1784771"/>
            </a:xfrm>
          </p:grpSpPr>
          <p:grpSp>
            <p:nvGrpSpPr>
              <p:cNvPr id="142" name="组 183"/>
              <p:cNvGrpSpPr/>
              <p:nvPr/>
            </p:nvGrpSpPr>
            <p:grpSpPr>
              <a:xfrm>
                <a:off x="4059194" y="3617144"/>
                <a:ext cx="4297476" cy="1784771"/>
                <a:chOff x="344349" y="3819823"/>
                <a:chExt cx="4297476" cy="1784771"/>
              </a:xfrm>
            </p:grpSpPr>
            <p:grpSp>
              <p:nvGrpSpPr>
                <p:cNvPr id="144" name="组 185"/>
                <p:cNvGrpSpPr/>
                <p:nvPr/>
              </p:nvGrpSpPr>
              <p:grpSpPr>
                <a:xfrm>
                  <a:off x="344349" y="3819823"/>
                  <a:ext cx="4297476" cy="1784771"/>
                  <a:chOff x="1531512" y="3901155"/>
                  <a:chExt cx="4297476" cy="1784771"/>
                </a:xfrm>
              </p:grpSpPr>
              <p:sp>
                <p:nvSpPr>
                  <p:cNvPr id="146" name="矩形 145"/>
                  <p:cNvSpPr/>
                  <p:nvPr/>
                </p:nvSpPr>
                <p:spPr>
                  <a:xfrm>
                    <a:off x="1531512" y="3901155"/>
                    <a:ext cx="4297476" cy="1784771"/>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147" name="组 188"/>
                  <p:cNvGrpSpPr/>
                  <p:nvPr/>
                </p:nvGrpSpPr>
                <p:grpSpPr>
                  <a:xfrm>
                    <a:off x="1687389" y="4105771"/>
                    <a:ext cx="4025706" cy="1440160"/>
                    <a:chOff x="1687389" y="4105771"/>
                    <a:chExt cx="4025706" cy="1440160"/>
                  </a:xfrm>
                </p:grpSpPr>
                <p:sp>
                  <p:nvSpPr>
                    <p:cNvPr id="148" name="折角形 147"/>
                    <p:cNvSpPr/>
                    <p:nvPr/>
                  </p:nvSpPr>
                  <p:spPr>
                    <a:xfrm>
                      <a:off x="2880717" y="4465811"/>
                      <a:ext cx="1152128" cy="360040"/>
                    </a:xfrm>
                    <a:prstGeom prst="foldedCorner">
                      <a:avLst/>
                    </a:prstGeom>
                    <a:solidFill>
                      <a:srgbClr val="4F81BD"/>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客户端负载均衡（</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Ribbon</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p>
                  </p:txBody>
                </p:sp>
                <p:sp>
                  <p:nvSpPr>
                    <p:cNvPr id="149" name="折角形 148"/>
                    <p:cNvSpPr/>
                    <p:nvPr/>
                  </p:nvSpPr>
                  <p:spPr>
                    <a:xfrm>
                      <a:off x="2880717" y="4825851"/>
                      <a:ext cx="1152128" cy="360040"/>
                    </a:xfrm>
                    <a:prstGeom prst="foldedCorner">
                      <a:avLst/>
                    </a:prstGeom>
                    <a:solidFill>
                      <a:srgbClr val="C00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断路器</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r>
                        <a:rPr kumimoji="1" lang="en-US" altLang="zh-CN" sz="8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Hystrix</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50" name="折角形 149"/>
                    <p:cNvSpPr/>
                    <p:nvPr/>
                  </p:nvSpPr>
                  <p:spPr>
                    <a:xfrm>
                      <a:off x="2880717" y="4105771"/>
                      <a:ext cx="1152128" cy="360040"/>
                    </a:xfrm>
                    <a:prstGeom prst="foldedCorner">
                      <a:avLst/>
                    </a:prstGeom>
                    <a:solidFill>
                      <a:srgbClr val="92D05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服务注册（</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Eureka</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lient</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p>
                  </p:txBody>
                </p:sp>
                <p:grpSp>
                  <p:nvGrpSpPr>
                    <p:cNvPr id="151" name="组 192"/>
                    <p:cNvGrpSpPr/>
                    <p:nvPr/>
                  </p:nvGrpSpPr>
                  <p:grpSpPr>
                    <a:xfrm>
                      <a:off x="4115246" y="4105771"/>
                      <a:ext cx="1597849" cy="1368152"/>
                      <a:chOff x="4115246" y="4105771"/>
                      <a:chExt cx="1597849" cy="1368152"/>
                    </a:xfrm>
                  </p:grpSpPr>
                  <p:sp>
                    <p:nvSpPr>
                      <p:cNvPr id="154" name="矩形 153"/>
                      <p:cNvSpPr/>
                      <p:nvPr/>
                    </p:nvSpPr>
                    <p:spPr>
                      <a:xfrm>
                        <a:off x="4115246" y="4105771"/>
                        <a:ext cx="1597849" cy="1368152"/>
                      </a:xfrm>
                      <a:prstGeom prst="rect">
                        <a:avLst/>
                      </a:prstGeom>
                      <a:solidFill>
                        <a:sysClr val="window" lastClr="FFFFFF"/>
                      </a:solidFill>
                      <a:ln w="25400" cap="flat" cmpd="sng" algn="ctr">
                        <a:solidFill>
                          <a:srgbClr val="4F81BD"/>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MicroService1</a:t>
                        </a: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cluster</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55" name="矩形 154"/>
                      <p:cNvSpPr/>
                      <p:nvPr/>
                    </p:nvSpPr>
                    <p:spPr>
                      <a:xfrm>
                        <a:off x="4176861"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black"/>
                            </a:solidFill>
                            <a:effectLst/>
                            <a:uLnTx/>
                            <a:uFillTx/>
                            <a:latin typeface="Calibri"/>
                            <a:ea typeface="宋体" panose="02010600030101010101" pitchFamily="2" charset="-122"/>
                            <a:cs typeface="+mn-cs"/>
                          </a:rPr>
                          <a:t>N1</a:t>
                        </a:r>
                        <a:endPar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sp>
                    <p:nvSpPr>
                      <p:cNvPr id="156" name="矩形 155"/>
                      <p:cNvSpPr/>
                      <p:nvPr/>
                    </p:nvSpPr>
                    <p:spPr>
                      <a:xfrm>
                        <a:off x="4691309"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2</a:t>
                        </a:r>
                      </a:p>
                    </p:txBody>
                  </p:sp>
                  <p:sp>
                    <p:nvSpPr>
                      <p:cNvPr id="157" name="矩形 156"/>
                      <p:cNvSpPr/>
                      <p:nvPr/>
                    </p:nvSpPr>
                    <p:spPr>
                      <a:xfrm>
                        <a:off x="5195365" y="4753843"/>
                        <a:ext cx="421656" cy="576064"/>
                      </a:xfrm>
                      <a:prstGeom prst="rect">
                        <a:avLst/>
                      </a:prstGeom>
                      <a:solidFill>
                        <a:sysClr val="window" lastClr="FFFFFF"/>
                      </a:solidFill>
                      <a:ln w="25400" cap="flat" cmpd="sng" algn="ctr">
                        <a:solidFill>
                          <a:srgbClr val="4F81BD"/>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rPr>
                          <a:t>N..</a:t>
                        </a:r>
                      </a:p>
                    </p:txBody>
                  </p:sp>
                </p:grpSp>
                <p:sp>
                  <p:nvSpPr>
                    <p:cNvPr id="152" name="折角形 151"/>
                    <p:cNvSpPr/>
                    <p:nvPr/>
                  </p:nvSpPr>
                  <p:spPr>
                    <a:xfrm>
                      <a:off x="1687389" y="4105771"/>
                      <a:ext cx="1152128" cy="360040"/>
                    </a:xfrm>
                    <a:prstGeom prst="foldedCorner">
                      <a:avLst/>
                    </a:prstGeom>
                    <a:solidFill>
                      <a:srgbClr val="9BBB59"/>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Spring</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8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Config</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lient</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53" name="折角形 152"/>
                    <p:cNvSpPr/>
                    <p:nvPr/>
                  </p:nvSpPr>
                  <p:spPr>
                    <a:xfrm>
                      <a:off x="2880717" y="5185891"/>
                      <a:ext cx="1152128" cy="360040"/>
                    </a:xfrm>
                    <a:prstGeom prst="foldedCorner">
                      <a:avLst/>
                    </a:prstGeom>
                    <a:solidFill>
                      <a:srgbClr val="C00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Sleuth</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lient</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sp>
              <p:nvSpPr>
                <p:cNvPr id="145" name="折角形 144"/>
                <p:cNvSpPr/>
                <p:nvPr/>
              </p:nvSpPr>
              <p:spPr>
                <a:xfrm>
                  <a:off x="500226" y="4740498"/>
                  <a:ext cx="1152128" cy="360040"/>
                </a:xfrm>
                <a:prstGeom prst="foldedCorner">
                  <a:avLst/>
                </a:prstGeom>
                <a:solidFill>
                  <a:sysClr val="window" lastClr="FFFFFF">
                    <a:lumMod val="50000"/>
                  </a:sysClr>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t>
                  </a:r>
                </a:p>
              </p:txBody>
            </p:sp>
          </p:grpSp>
          <p:sp>
            <p:nvSpPr>
              <p:cNvPr id="143" name="折角形 142"/>
              <p:cNvSpPr/>
              <p:nvPr/>
            </p:nvSpPr>
            <p:spPr>
              <a:xfrm>
                <a:off x="4215071" y="4177779"/>
                <a:ext cx="1152128" cy="356019"/>
              </a:xfrm>
              <a:prstGeom prst="foldedCorner">
                <a:avLst/>
              </a:prstGeom>
              <a:solidFill>
                <a:srgbClr val="FFC000"/>
              </a:solidFill>
              <a:ln w="25400" cap="flat" cmpd="sng" algn="ctr">
                <a:solidFill>
                  <a:srgbClr val="1F497D">
                    <a:lumMod val="40000"/>
                    <a:lumOff val="6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Spring</a:t>
                </a:r>
                <a:r>
                  <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bus</a:t>
                </a:r>
                <a:endParaRPr kumimoji="1" lang="zh-CN" altLang="en-US" sz="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cxnSp>
          <p:nvCxnSpPr>
            <p:cNvPr id="158" name="直线箭头连接符 199"/>
            <p:cNvCxnSpPr>
              <a:endCxn id="122" idx="3"/>
            </p:cNvCxnSpPr>
            <p:nvPr/>
          </p:nvCxnSpPr>
          <p:spPr>
            <a:xfrm flipH="1" flipV="1">
              <a:off x="10190649" y="2791085"/>
              <a:ext cx="468052" cy="8216"/>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59" name="直线箭头连接符 200"/>
            <p:cNvCxnSpPr>
              <a:stCxn id="122" idx="2"/>
            </p:cNvCxnSpPr>
            <p:nvPr/>
          </p:nvCxnSpPr>
          <p:spPr>
            <a:xfrm flipH="1">
              <a:off x="9321608" y="3383775"/>
              <a:ext cx="40949" cy="2484784"/>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0" name="直线箭头连接符 201"/>
            <p:cNvCxnSpPr/>
            <p:nvPr/>
          </p:nvCxnSpPr>
          <p:spPr>
            <a:xfrm flipV="1">
              <a:off x="5978797" y="5633989"/>
              <a:ext cx="0" cy="360040"/>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1" name="直线箭头连接符 202"/>
            <p:cNvCxnSpPr/>
            <p:nvPr/>
          </p:nvCxnSpPr>
          <p:spPr>
            <a:xfrm flipV="1">
              <a:off x="7621301" y="1542180"/>
              <a:ext cx="0" cy="2282308"/>
            </a:xfrm>
            <a:prstGeom prst="straightConnector1">
              <a:avLst/>
            </a:prstGeom>
            <a:noFill/>
            <a:ln w="28575" cap="flat" cmpd="sng" algn="ctr">
              <a:solidFill>
                <a:srgbClr val="4F81BD">
                  <a:shade val="95000"/>
                  <a:satMod val="105000"/>
                </a:srgbClr>
              </a:solidFill>
              <a:prstDash val="solid"/>
              <a:tailEnd type="triangle"/>
            </a:ln>
            <a:effectLst/>
          </p:spPr>
        </p:cxnSp>
        <p:cxnSp>
          <p:nvCxnSpPr>
            <p:cNvPr id="162" name="肘形连接符 161"/>
            <p:cNvCxnSpPr/>
            <p:nvPr/>
          </p:nvCxnSpPr>
          <p:spPr>
            <a:xfrm rot="10800000" flipH="1">
              <a:off x="3830058" y="1495030"/>
              <a:ext cx="625201" cy="3246574"/>
            </a:xfrm>
            <a:prstGeom prst="bentConnector4">
              <a:avLst>
                <a:gd name="adj1" fmla="val -36564"/>
                <a:gd name="adj2" fmla="val 86433"/>
              </a:avLst>
            </a:prstGeom>
            <a:noFill/>
            <a:ln w="28575" cap="flat" cmpd="sng" algn="ctr">
              <a:solidFill>
                <a:srgbClr val="4F81BD">
                  <a:shade val="95000"/>
                  <a:satMod val="105000"/>
                </a:srgbClr>
              </a:solidFill>
              <a:prstDash val="solid"/>
              <a:tailEnd type="triangle"/>
            </a:ln>
            <a:effectLst/>
          </p:spPr>
        </p:cxnSp>
        <p:cxnSp>
          <p:nvCxnSpPr>
            <p:cNvPr id="163" name="肘形连接符 162"/>
            <p:cNvCxnSpPr/>
            <p:nvPr/>
          </p:nvCxnSpPr>
          <p:spPr>
            <a:xfrm flipV="1">
              <a:off x="8127535" y="3421187"/>
              <a:ext cx="715461" cy="1320417"/>
            </a:xfrm>
            <a:prstGeom prst="bentConnector2">
              <a:avLst/>
            </a:prstGeom>
            <a:noFill/>
            <a:ln w="28575" cap="flat" cmpd="sng" algn="ctr">
              <a:solidFill>
                <a:srgbClr val="4F81BD">
                  <a:shade val="95000"/>
                  <a:satMod val="105000"/>
                </a:srgbClr>
              </a:solidFill>
              <a:prstDash val="solid"/>
              <a:tailEnd type="triangle"/>
            </a:ln>
            <a:effectLst/>
          </p:spPr>
        </p:cxnSp>
        <p:cxnSp>
          <p:nvCxnSpPr>
            <p:cNvPr id="164" name="肘形连接符 163"/>
            <p:cNvCxnSpPr/>
            <p:nvPr/>
          </p:nvCxnSpPr>
          <p:spPr>
            <a:xfrm rot="16200000" flipH="1">
              <a:off x="2393184" y="3501563"/>
              <a:ext cx="1548070" cy="1394500"/>
            </a:xfrm>
            <a:prstGeom prst="bentConnector3">
              <a:avLst>
                <a:gd name="adj1" fmla="val 100863"/>
              </a:avLst>
            </a:prstGeom>
            <a:noFill/>
            <a:ln w="28575" cap="flat" cmpd="sng" algn="ctr">
              <a:solidFill>
                <a:srgbClr val="4F81BD">
                  <a:shade val="95000"/>
                  <a:satMod val="105000"/>
                </a:srgbClr>
              </a:solidFill>
              <a:prstDash val="solid"/>
              <a:tailEnd type="triangle"/>
            </a:ln>
            <a:effectLst/>
          </p:spPr>
        </p:cxnSp>
      </p:grpSp>
    </p:spTree>
    <p:extLst>
      <p:ext uri="{BB962C8B-B14F-4D97-AF65-F5344CB8AC3E}">
        <p14:creationId xmlns:p14="http://schemas.microsoft.com/office/powerpoint/2010/main" val="40758133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zh-CN" altLang="en-US" dirty="0" smtClean="0">
                <a:latin typeface="微软雅黑" pitchFamily="34" charset="-122"/>
                <a:ea typeface="微软雅黑" pitchFamily="34" charset="-122"/>
              </a:rPr>
              <a:t>总体设计</a:t>
            </a:r>
            <a:r>
              <a:rPr lang="en-US" altLang="zh-CN" dirty="0" smtClean="0">
                <a:latin typeface="微软雅黑" pitchFamily="34" charset="-122"/>
                <a:ea typeface="微软雅黑" pitchFamily="34" charset="-122"/>
              </a:rPr>
              <a:t>——APP</a:t>
            </a:r>
            <a:r>
              <a:rPr lang="zh-CN" altLang="en-US" dirty="0" smtClean="0">
                <a:latin typeface="微软雅黑" pitchFamily="34" charset="-122"/>
                <a:ea typeface="微软雅黑" pitchFamily="34" charset="-122"/>
              </a:rPr>
              <a:t>技术体系</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7</a:t>
            </a:fld>
            <a:endParaRPr lang="en-US"/>
          </a:p>
        </p:txBody>
      </p:sp>
      <p:grpSp>
        <p:nvGrpSpPr>
          <p:cNvPr id="3" name="组合 2"/>
          <p:cNvGrpSpPr/>
          <p:nvPr/>
        </p:nvGrpSpPr>
        <p:grpSpPr>
          <a:xfrm>
            <a:off x="883373" y="576546"/>
            <a:ext cx="6745726" cy="4545368"/>
            <a:chOff x="4176861" y="464565"/>
            <a:chExt cx="6451793" cy="6018785"/>
          </a:xfrm>
        </p:grpSpPr>
        <p:sp>
          <p:nvSpPr>
            <p:cNvPr id="69" name="矩形 68"/>
            <p:cNvSpPr/>
            <p:nvPr/>
          </p:nvSpPr>
          <p:spPr>
            <a:xfrm>
              <a:off x="4176861" y="464565"/>
              <a:ext cx="6451793" cy="6018785"/>
            </a:xfrm>
            <a:prstGeom prst="rect">
              <a:avLst/>
            </a:prstGeom>
            <a:no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70" name="组 68"/>
            <p:cNvGrpSpPr/>
            <p:nvPr/>
          </p:nvGrpSpPr>
          <p:grpSpPr>
            <a:xfrm>
              <a:off x="5049066" y="2097521"/>
              <a:ext cx="5479021" cy="4104135"/>
              <a:chOff x="5677510" y="1712643"/>
              <a:chExt cx="5342105" cy="4121320"/>
            </a:xfrm>
          </p:grpSpPr>
          <p:grpSp>
            <p:nvGrpSpPr>
              <p:cNvPr id="71" name="组 29"/>
              <p:cNvGrpSpPr/>
              <p:nvPr/>
            </p:nvGrpSpPr>
            <p:grpSpPr>
              <a:xfrm>
                <a:off x="5677510" y="1712643"/>
                <a:ext cx="5342105" cy="4121320"/>
                <a:chOff x="3816821" y="1153443"/>
                <a:chExt cx="6514762" cy="4986094"/>
              </a:xfrm>
            </p:grpSpPr>
            <p:sp>
              <p:nvSpPr>
                <p:cNvPr id="73" name="右箭头 72"/>
                <p:cNvSpPr/>
                <p:nvPr/>
              </p:nvSpPr>
              <p:spPr>
                <a:xfrm rot="5400000">
                  <a:off x="5808592" y="4697951"/>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74" name="右箭头 73"/>
                <p:cNvSpPr/>
                <p:nvPr/>
              </p:nvSpPr>
              <p:spPr>
                <a:xfrm rot="16200000">
                  <a:off x="7704090" y="4701801"/>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nvGrpSpPr>
                <p:cNvPr id="75" name="组 11"/>
                <p:cNvGrpSpPr/>
                <p:nvPr/>
              </p:nvGrpSpPr>
              <p:grpSpPr>
                <a:xfrm>
                  <a:off x="3816821" y="1153443"/>
                  <a:ext cx="6514762" cy="4986094"/>
                  <a:chOff x="3820468" y="1153443"/>
                  <a:chExt cx="6514762" cy="4986094"/>
                </a:xfrm>
              </p:grpSpPr>
              <p:sp>
                <p:nvSpPr>
                  <p:cNvPr id="76" name="圆角矩形 75"/>
                  <p:cNvSpPr/>
                  <p:nvPr/>
                </p:nvSpPr>
                <p:spPr>
                  <a:xfrm>
                    <a:off x="3820468" y="1585491"/>
                    <a:ext cx="6514761" cy="756084"/>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Rendering</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endPar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Engine</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77" name="组 10"/>
                  <p:cNvGrpSpPr/>
                  <p:nvPr/>
                </p:nvGrpSpPr>
                <p:grpSpPr>
                  <a:xfrm>
                    <a:off x="3820469" y="5234003"/>
                    <a:ext cx="6514761" cy="905534"/>
                    <a:chOff x="3820469" y="5234003"/>
                    <a:chExt cx="6514761" cy="905534"/>
                  </a:xfrm>
                </p:grpSpPr>
                <p:sp>
                  <p:nvSpPr>
                    <p:cNvPr id="93" name="圆角矩形 92"/>
                    <p:cNvSpPr/>
                    <p:nvPr/>
                  </p:nvSpPr>
                  <p:spPr>
                    <a:xfrm>
                      <a:off x="3820469" y="5234003"/>
                      <a:ext cx="6514761" cy="905534"/>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t"/>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Mobile</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OS</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4" name="矩形 93"/>
                    <p:cNvSpPr/>
                    <p:nvPr/>
                  </p:nvSpPr>
                  <p:spPr>
                    <a:xfrm>
                      <a:off x="5086183" y="5490202"/>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ndroid</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5" name="矩形 94"/>
                    <p:cNvSpPr/>
                    <p:nvPr/>
                  </p:nvSpPr>
                  <p:spPr>
                    <a:xfrm>
                      <a:off x="6625007" y="5490201"/>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IO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6" name="矩形 95"/>
                    <p:cNvSpPr/>
                    <p:nvPr/>
                  </p:nvSpPr>
                  <p:spPr>
                    <a:xfrm>
                      <a:off x="8163831" y="5490201"/>
                      <a:ext cx="1276053" cy="393135"/>
                    </a:xfrm>
                    <a:prstGeom prst="rect">
                      <a:avLst/>
                    </a:prstGeom>
                    <a:solidFill>
                      <a:srgbClr val="C0504D"/>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WinPhon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nvGrpSpPr>
                  <p:cNvPr id="78" name="组 8"/>
                  <p:cNvGrpSpPr/>
                  <p:nvPr/>
                </p:nvGrpSpPr>
                <p:grpSpPr>
                  <a:xfrm>
                    <a:off x="4752925" y="2825670"/>
                    <a:ext cx="5582304" cy="1784157"/>
                    <a:chOff x="4752925" y="3062911"/>
                    <a:chExt cx="5582304" cy="1784157"/>
                  </a:xfrm>
                </p:grpSpPr>
                <p:sp>
                  <p:nvSpPr>
                    <p:cNvPr id="83" name="圆角矩形 82"/>
                    <p:cNvSpPr/>
                    <p:nvPr/>
                  </p:nvSpPr>
                  <p:spPr>
                    <a:xfrm>
                      <a:off x="4752925" y="3062911"/>
                      <a:ext cx="5582304" cy="1784157"/>
                    </a:xfrm>
                    <a:prstGeom prst="roundRect">
                      <a:avLst/>
                    </a:prstGeom>
                    <a:solidFill>
                      <a:srgbClr val="00B050"/>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Native</a:t>
                      </a:r>
                      <a:r>
                        <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Plugins</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4" name="矩形 83"/>
                    <p:cNvSpPr/>
                    <p:nvPr/>
                  </p:nvSpPr>
                  <p:spPr>
                    <a:xfrm>
                      <a:off x="4824933" y="3483995"/>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Battery</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5" name="矩形 84"/>
                    <p:cNvSpPr/>
                    <p:nvPr/>
                  </p:nvSpPr>
                  <p:spPr>
                    <a:xfrm>
                      <a:off x="6254922" y="3483994"/>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amera</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6" name="矩形 85"/>
                    <p:cNvSpPr/>
                    <p:nvPr/>
                  </p:nvSpPr>
                  <p:spPr>
                    <a:xfrm>
                      <a:off x="7636243" y="3483993"/>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Geoloaction</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7" name="矩形 86"/>
                    <p:cNvSpPr/>
                    <p:nvPr/>
                  </p:nvSpPr>
                  <p:spPr>
                    <a:xfrm>
                      <a:off x="8984304" y="3478215"/>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ontact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8" name="矩形 87"/>
                    <p:cNvSpPr/>
                    <p:nvPr/>
                  </p:nvSpPr>
                  <p:spPr>
                    <a:xfrm>
                      <a:off x="4824933" y="3928660"/>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Devic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89" name="矩形 88"/>
                    <p:cNvSpPr/>
                    <p:nvPr/>
                  </p:nvSpPr>
                  <p:spPr>
                    <a:xfrm>
                      <a:off x="6254922" y="3928659"/>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Network</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0" name="矩形 89"/>
                    <p:cNvSpPr/>
                    <p:nvPr/>
                  </p:nvSpPr>
                  <p:spPr>
                    <a:xfrm>
                      <a:off x="7636243" y="3928658"/>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Storage</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91" name="矩形 90"/>
                    <p:cNvSpPr/>
                    <p:nvPr/>
                  </p:nvSpPr>
                  <p:spPr>
                    <a:xfrm>
                      <a:off x="8984304" y="3922880"/>
                      <a:ext cx="1276053"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mr-IN"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rPr>
                        <a: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endParaRPr>
                    </a:p>
                  </p:txBody>
                </p:sp>
                <p:sp>
                  <p:nvSpPr>
                    <p:cNvPr id="92" name="矩形 91"/>
                    <p:cNvSpPr/>
                    <p:nvPr/>
                  </p:nvSpPr>
                  <p:spPr>
                    <a:xfrm>
                      <a:off x="5086182" y="4385466"/>
                      <a:ext cx="4851319" cy="393135"/>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ustom</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Plugins</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sp>
                <p:nvSpPr>
                  <p:cNvPr id="79" name="右箭头 78"/>
                  <p:cNvSpPr/>
                  <p:nvPr/>
                </p:nvSpPr>
                <p:spPr>
                  <a:xfrm rot="5400000">
                    <a:off x="5885436" y="1203892"/>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0" name="右箭头 79"/>
                  <p:cNvSpPr/>
                  <p:nvPr/>
                </p:nvSpPr>
                <p:spPr>
                  <a:xfrm rot="5400000">
                    <a:off x="5885435" y="2421458"/>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1" name="右箭头 80"/>
                  <p:cNvSpPr/>
                  <p:nvPr/>
                </p:nvSpPr>
                <p:spPr>
                  <a:xfrm rot="16200000">
                    <a:off x="7625583" y="2386765"/>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82" name="右箭头 81"/>
                  <p:cNvSpPr/>
                  <p:nvPr/>
                </p:nvSpPr>
                <p:spPr>
                  <a:xfrm rot="16200000">
                    <a:off x="7453066" y="1177896"/>
                    <a:ext cx="393939" cy="345033"/>
                  </a:xfrm>
                  <a:prstGeom prst="right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grpSp>
          <p:sp>
            <p:nvSpPr>
              <p:cNvPr id="72" name="上下箭头 71"/>
              <p:cNvSpPr/>
              <p:nvPr/>
            </p:nvSpPr>
            <p:spPr>
              <a:xfrm>
                <a:off x="5760571" y="2656933"/>
                <a:ext cx="311060" cy="2390773"/>
              </a:xfrm>
              <a:prstGeom prst="upDownArrow">
                <a:avLst/>
              </a:prstGeom>
              <a:gradFill flip="none" rotWithShape="1">
                <a:gsLst>
                  <a:gs pos="0">
                    <a:srgbClr val="F79646">
                      <a:lumMod val="67000"/>
                    </a:srgbClr>
                  </a:gs>
                  <a:gs pos="48000">
                    <a:srgbClr val="F79646">
                      <a:lumMod val="97000"/>
                      <a:lumOff val="3000"/>
                    </a:srgbClr>
                  </a:gs>
                  <a:gs pos="100000">
                    <a:srgbClr val="F79646">
                      <a:lumMod val="60000"/>
                      <a:lumOff val="40000"/>
                    </a:srgbClr>
                  </a:gs>
                </a:gsLst>
                <a:lin ang="16200000" scaled="1"/>
                <a:tileRect/>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sz="12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grpSp>
        <p:sp>
          <p:nvSpPr>
            <p:cNvPr id="97" name="圆角矩形 96"/>
            <p:cNvSpPr/>
            <p:nvPr/>
          </p:nvSpPr>
          <p:spPr>
            <a:xfrm>
              <a:off x="4396818" y="842573"/>
              <a:ext cx="500123" cy="5368103"/>
            </a:xfrm>
            <a:prstGeom prst="roundRect">
              <a:avLst/>
            </a:prstGeom>
            <a:solidFill>
              <a:srgbClr val="1F497D">
                <a:lumMod val="40000"/>
                <a:lumOff val="60000"/>
              </a:srgbClr>
            </a:solidFill>
            <a:ln w="25400" cap="flat" cmpd="sng" algn="ctr">
              <a:solidFill>
                <a:srgbClr val="9BBB59">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rPr>
                <a:t>CLI</a:t>
              </a:r>
              <a:endParaRPr kumimoji="1" lang="zh-CN" altLang="en-US" sz="9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nvGrpSpPr>
            <p:cNvPr id="98" name="组 72"/>
            <p:cNvGrpSpPr/>
            <p:nvPr/>
          </p:nvGrpSpPr>
          <p:grpSpPr>
            <a:xfrm>
              <a:off x="6049463" y="628283"/>
              <a:ext cx="3478225" cy="1543170"/>
              <a:chOff x="288428" y="1710698"/>
              <a:chExt cx="3715445" cy="1770062"/>
            </a:xfrm>
          </p:grpSpPr>
          <p:sp>
            <p:nvSpPr>
              <p:cNvPr id="99" name="圆角矩形 98"/>
              <p:cNvSpPr/>
              <p:nvPr/>
            </p:nvSpPr>
            <p:spPr>
              <a:xfrm>
                <a:off x="288428" y="1710698"/>
                <a:ext cx="3715445" cy="1770062"/>
              </a:xfrm>
              <a:prstGeom prst="roundRect">
                <a:avLst/>
              </a:prstGeom>
              <a:solidFill>
                <a:srgbClr val="C0504D"/>
              </a:solidFill>
              <a:ln w="25400" cap="flat" cmpd="sng" algn="ctr">
                <a:solidFill>
                  <a:srgbClr val="9BBB59">
                    <a:shade val="50000"/>
                  </a:srgbClr>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App</a:t>
                </a:r>
                <a:endParaRPr kumimoji="1" lang="zh-CN" altLang="en-US" sz="11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0" name="矩形 99"/>
              <p:cNvSpPr/>
              <p:nvPr/>
            </p:nvSpPr>
            <p:spPr>
              <a:xfrm>
                <a:off x="810108" y="2230477"/>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javascript</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1" name="矩形 100"/>
              <p:cNvSpPr/>
              <p:nvPr/>
            </p:nvSpPr>
            <p:spPr>
              <a:xfrm>
                <a:off x="2518660" y="2230477"/>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CSS</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Freamwork</a:t>
                </a:r>
                <a:endPar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
            <p:nvSpPr>
              <p:cNvPr id="102" name="矩形 101"/>
              <p:cNvSpPr/>
              <p:nvPr/>
            </p:nvSpPr>
            <p:spPr>
              <a:xfrm>
                <a:off x="2518660" y="2891239"/>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Router</a:t>
                </a:r>
              </a:p>
            </p:txBody>
          </p:sp>
          <p:sp>
            <p:nvSpPr>
              <p:cNvPr id="166" name="矩形 165"/>
              <p:cNvSpPr/>
              <p:nvPr/>
            </p:nvSpPr>
            <p:spPr>
              <a:xfrm>
                <a:off x="810108" y="2891239"/>
                <a:ext cx="1093200" cy="484539"/>
              </a:xfrm>
              <a:prstGeom prst="rect">
                <a:avLst/>
              </a:prstGeom>
              <a:solidFill>
                <a:srgbClr val="F79646"/>
              </a:solidFill>
              <a:ln w="25400" cap="flat" cmpd="sng" algn="ctr">
                <a:solidFill>
                  <a:srgbClr val="F79646">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MVC</a:t>
                </a:r>
                <a:r>
                  <a:rPr kumimoji="1" lang="zh-CN" altLang="en-US"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 </a:t>
                </a:r>
                <a:r>
                  <a:rPr kumimoji="1" lang="en-US" altLang="zh-CN" sz="1200" b="0" i="0" u="none" strike="noStrike" kern="0" cap="none" spc="0" normalizeH="0" baseline="0" noProof="0" dirty="0" err="1" smtClean="0">
                    <a:ln>
                      <a:noFill/>
                    </a:ln>
                    <a:solidFill>
                      <a:prstClr val="white"/>
                    </a:solidFill>
                    <a:effectLst/>
                    <a:uLnTx/>
                    <a:uFillTx/>
                    <a:latin typeface="Calibri"/>
                    <a:ea typeface="宋体" panose="02010600030101010101" pitchFamily="2" charset="-122"/>
                    <a:cs typeface="+mn-cs"/>
                  </a:rPr>
                  <a:t>Freamwork</a:t>
                </a:r>
                <a:endParaRPr kumimoji="1" lang="en-US" altLang="zh-CN" sz="12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grpSp>
      </p:grpSp>
    </p:spTree>
    <p:extLst>
      <p:ext uri="{BB962C8B-B14F-4D97-AF65-F5344CB8AC3E}">
        <p14:creationId xmlns:p14="http://schemas.microsoft.com/office/powerpoint/2010/main" val="15751491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37107" y="215804"/>
            <a:ext cx="7304088" cy="304800"/>
          </a:xfrm>
        </p:spPr>
        <p:txBody>
          <a:bodyPr/>
          <a:lstStyle/>
          <a:p>
            <a:r>
              <a:rPr lang="en-US" altLang="zh-CN" dirty="0">
                <a:latin typeface="微软雅黑" pitchFamily="34" charset="-122"/>
                <a:ea typeface="微软雅黑" pitchFamily="34" charset="-122"/>
              </a:rPr>
              <a:t>4</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部署设计</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系统拓扑</a:t>
            </a:r>
            <a:endParaRPr lang="zh-CN" altLang="en-US" dirty="0">
              <a:latin typeface="微软雅黑" pitchFamily="34" charset="-122"/>
              <a:ea typeface="微软雅黑" pitchFamily="34" charset="-122"/>
            </a:endParaRPr>
          </a:p>
        </p:txBody>
      </p:sp>
      <p:sp>
        <p:nvSpPr>
          <p:cNvPr id="4" name="灯片编号占位符 3"/>
          <p:cNvSpPr>
            <a:spLocks noGrp="1"/>
          </p:cNvSpPr>
          <p:nvPr>
            <p:ph type="sldNum" sz="quarter" idx="10"/>
          </p:nvPr>
        </p:nvSpPr>
        <p:spPr/>
        <p:txBody>
          <a:bodyPr/>
          <a:lstStyle/>
          <a:p>
            <a:pPr>
              <a:defRPr/>
            </a:pPr>
            <a:fld id="{5F2F3CC2-4F08-407C-93B6-F094B82ED66D}" type="slidenum">
              <a:rPr lang="en-US" smtClean="0"/>
              <a:pPr>
                <a:defRPr/>
              </a:pPr>
              <a:t>8</a:t>
            </a:fld>
            <a:endParaRPr lang="en-US"/>
          </a:p>
        </p:txBody>
      </p:sp>
      <p:grpSp>
        <p:nvGrpSpPr>
          <p:cNvPr id="3" name="组合 2"/>
          <p:cNvGrpSpPr/>
          <p:nvPr/>
        </p:nvGrpSpPr>
        <p:grpSpPr>
          <a:xfrm>
            <a:off x="495879" y="897383"/>
            <a:ext cx="7395943" cy="3788818"/>
            <a:chOff x="1872605" y="447952"/>
            <a:chExt cx="9001000" cy="5530027"/>
          </a:xfrm>
        </p:grpSpPr>
        <p:sp>
          <p:nvSpPr>
            <p:cNvPr id="5" name="矩形 4"/>
            <p:cNvSpPr/>
            <p:nvPr/>
          </p:nvSpPr>
          <p:spPr>
            <a:xfrm>
              <a:off x="3672805" y="1528669"/>
              <a:ext cx="2021786" cy="1003314"/>
            </a:xfrm>
            <a:prstGeom prst="rect">
              <a:avLst/>
            </a:prstGeom>
            <a:solidFill>
              <a:srgbClr val="9BBB59">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6" name="组 35"/>
            <p:cNvGrpSpPr/>
            <p:nvPr/>
          </p:nvGrpSpPr>
          <p:grpSpPr>
            <a:xfrm>
              <a:off x="4058791" y="447952"/>
              <a:ext cx="1249814" cy="583664"/>
              <a:chOff x="4704927" y="422839"/>
              <a:chExt cx="1249814" cy="583664"/>
            </a:xfrm>
          </p:grpSpPr>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04927" y="422839"/>
                <a:ext cx="465132" cy="465132"/>
              </a:xfrm>
              <a:prstGeom prst="rect">
                <a:avLst/>
              </a:prstGeom>
            </p:spPr>
          </p:pic>
          <p:grpSp>
            <p:nvGrpSpPr>
              <p:cNvPr id="8" name="组 38"/>
              <p:cNvGrpSpPr/>
              <p:nvPr/>
            </p:nvGrpSpPr>
            <p:grpSpPr>
              <a:xfrm>
                <a:off x="5094338" y="422839"/>
                <a:ext cx="860403" cy="583664"/>
                <a:chOff x="1420754" y="642998"/>
                <a:chExt cx="860403" cy="583664"/>
              </a:xfrm>
            </p:grpSpPr>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20754" y="662143"/>
                  <a:ext cx="465132" cy="465132"/>
                </a:xfrm>
                <a:prstGeom prst="rect">
                  <a:avLst/>
                </a:prstGeom>
              </p:spPr>
            </p:pic>
            <p:pic>
              <p:nvPicPr>
                <p:cNvPr id="10" name="图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16025" y="642998"/>
                  <a:ext cx="465132" cy="465132"/>
                </a:xfrm>
                <a:prstGeom prst="rect">
                  <a:avLst/>
                </a:prstGeom>
              </p:spPr>
            </p:pic>
            <p:pic>
              <p:nvPicPr>
                <p:cNvPr id="11" name="图片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1445" y="761530"/>
                  <a:ext cx="465132" cy="465132"/>
                </a:xfrm>
                <a:prstGeom prst="rect">
                  <a:avLst/>
                </a:prstGeom>
              </p:spPr>
            </p:pic>
          </p:grpSp>
        </p:grpSp>
        <p:grpSp>
          <p:nvGrpSpPr>
            <p:cNvPr id="12" name="组 49"/>
            <p:cNvGrpSpPr/>
            <p:nvPr/>
          </p:nvGrpSpPr>
          <p:grpSpPr>
            <a:xfrm>
              <a:off x="4861772" y="4105771"/>
              <a:ext cx="476621" cy="671687"/>
              <a:chOff x="970029" y="1322406"/>
              <a:chExt cx="476621" cy="671687"/>
            </a:xfrm>
          </p:grpSpPr>
          <p:pic>
            <p:nvPicPr>
              <p:cNvPr id="13" name="图片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0029" y="1322406"/>
                <a:ext cx="465132" cy="465132"/>
              </a:xfrm>
              <a:prstGeom prst="rect">
                <a:avLst/>
              </a:prstGeom>
            </p:spPr>
          </p:pic>
          <p:sp>
            <p:nvSpPr>
              <p:cNvPr id="14" name="文本框 13"/>
              <p:cNvSpPr txBox="1"/>
              <p:nvPr/>
            </p:nvSpPr>
            <p:spPr>
              <a:xfrm>
                <a:off x="1010074" y="1729507"/>
                <a:ext cx="436576" cy="264586"/>
              </a:xfrm>
              <a:prstGeom prst="rect">
                <a:avLst/>
              </a:prstGeom>
              <a:noFill/>
            </p:spPr>
            <p:txBody>
              <a:bodyPr wrap="none" rtlCol="0">
                <a:spAutoFit/>
              </a:bodyPr>
              <a:lstStyle/>
              <a:p>
                <a:pPr algn="l" defTabSz="914400" fontAlgn="auto">
                  <a:spcBef>
                    <a:spcPts val="0"/>
                  </a:spcBef>
                  <a:spcAft>
                    <a:spcPts val="0"/>
                  </a:spcAft>
                </a:pPr>
                <a:r>
                  <a:rPr kumimoji="1" lang="en-US" altLang="zh-CN" sz="800" b="0" dirty="0" smtClean="0">
                    <a:solidFill>
                      <a:prstClr val="black"/>
                    </a:solidFill>
                    <a:latin typeface="Calibri"/>
                    <a:ea typeface="宋体" panose="02010600030101010101" pitchFamily="2" charset="-122"/>
                  </a:rPr>
                  <a:t>SLB</a:t>
                </a:r>
                <a:endParaRPr kumimoji="1" lang="zh-CN" altLang="en-US" sz="800" b="0" dirty="0">
                  <a:solidFill>
                    <a:prstClr val="black"/>
                  </a:solidFill>
                  <a:latin typeface="Calibri"/>
                  <a:ea typeface="宋体" panose="02010600030101010101" pitchFamily="2" charset="-122"/>
                </a:endParaRPr>
              </a:p>
            </p:txBody>
          </p:sp>
        </p:grpSp>
        <p:grpSp>
          <p:nvGrpSpPr>
            <p:cNvPr id="15" name="组 56"/>
            <p:cNvGrpSpPr/>
            <p:nvPr/>
          </p:nvGrpSpPr>
          <p:grpSpPr>
            <a:xfrm>
              <a:off x="3960837" y="1782080"/>
              <a:ext cx="528510" cy="679727"/>
              <a:chOff x="1998138" y="1287678"/>
              <a:chExt cx="528510" cy="679727"/>
            </a:xfrm>
          </p:grpSpPr>
          <p:pic>
            <p:nvPicPr>
              <p:cNvPr id="16" name="图片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98138" y="1287678"/>
                <a:ext cx="465132" cy="465132"/>
              </a:xfrm>
              <a:prstGeom prst="rect">
                <a:avLst/>
              </a:prstGeom>
            </p:spPr>
          </p:pic>
          <p:sp>
            <p:nvSpPr>
              <p:cNvPr id="17" name="文本框 16"/>
              <p:cNvSpPr txBox="1"/>
              <p:nvPr/>
            </p:nvSpPr>
            <p:spPr>
              <a:xfrm>
                <a:off x="2011734" y="1683921"/>
                <a:ext cx="514914"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CDN</a:t>
                </a:r>
                <a:endParaRPr kumimoji="1" lang="zh-CN" altLang="en-US" sz="900" b="0" dirty="0">
                  <a:solidFill>
                    <a:prstClr val="black"/>
                  </a:solidFill>
                  <a:latin typeface="Calibri"/>
                  <a:ea typeface="宋体" panose="02010600030101010101" pitchFamily="2" charset="-122"/>
                </a:endParaRPr>
              </a:p>
            </p:txBody>
          </p:sp>
        </p:grpSp>
        <p:grpSp>
          <p:nvGrpSpPr>
            <p:cNvPr id="18" name="组 4"/>
            <p:cNvGrpSpPr/>
            <p:nvPr/>
          </p:nvGrpSpPr>
          <p:grpSpPr>
            <a:xfrm>
              <a:off x="6024945" y="3044488"/>
              <a:ext cx="915177" cy="2592288"/>
              <a:chOff x="4483650" y="2203414"/>
              <a:chExt cx="915177" cy="2592288"/>
            </a:xfrm>
          </p:grpSpPr>
          <p:sp>
            <p:nvSpPr>
              <p:cNvPr id="19" name="矩形 18"/>
              <p:cNvSpPr/>
              <p:nvPr/>
            </p:nvSpPr>
            <p:spPr>
              <a:xfrm>
                <a:off x="4483650" y="2203414"/>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20" name="组 75"/>
              <p:cNvGrpSpPr/>
              <p:nvPr/>
            </p:nvGrpSpPr>
            <p:grpSpPr>
              <a:xfrm>
                <a:off x="4704927" y="2328593"/>
                <a:ext cx="510235" cy="684205"/>
                <a:chOff x="4053437" y="600401"/>
                <a:chExt cx="510235" cy="684205"/>
              </a:xfrm>
            </p:grpSpPr>
            <p:pic>
              <p:nvPicPr>
                <p:cNvPr id="24" name="图片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53437" y="600401"/>
                  <a:ext cx="465132" cy="465132"/>
                </a:xfrm>
                <a:prstGeom prst="rect">
                  <a:avLst/>
                </a:prstGeom>
              </p:spPr>
            </p:pic>
            <p:sp>
              <p:nvSpPr>
                <p:cNvPr id="25" name="文本框 24"/>
                <p:cNvSpPr txBox="1"/>
                <p:nvPr/>
              </p:nvSpPr>
              <p:spPr>
                <a:xfrm>
                  <a:off x="4095337" y="1001122"/>
                  <a:ext cx="468335"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EC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21" name="组 78"/>
              <p:cNvGrpSpPr/>
              <p:nvPr/>
            </p:nvGrpSpPr>
            <p:grpSpPr>
              <a:xfrm>
                <a:off x="4704927" y="3264697"/>
                <a:ext cx="510235" cy="684205"/>
                <a:chOff x="4053437" y="449820"/>
                <a:chExt cx="510235" cy="684205"/>
              </a:xfrm>
            </p:grpSpPr>
            <p:pic>
              <p:nvPicPr>
                <p:cNvPr id="22" name="图片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53437" y="449820"/>
                  <a:ext cx="465132" cy="465132"/>
                </a:xfrm>
                <a:prstGeom prst="rect">
                  <a:avLst/>
                </a:prstGeom>
              </p:spPr>
            </p:pic>
            <p:sp>
              <p:nvSpPr>
                <p:cNvPr id="23" name="文本框 22"/>
                <p:cNvSpPr txBox="1"/>
                <p:nvPr/>
              </p:nvSpPr>
              <p:spPr>
                <a:xfrm>
                  <a:off x="4095337" y="850541"/>
                  <a:ext cx="468335"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EC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26" name="组 3"/>
            <p:cNvGrpSpPr/>
            <p:nvPr/>
          </p:nvGrpSpPr>
          <p:grpSpPr>
            <a:xfrm>
              <a:off x="7727751" y="3044488"/>
              <a:ext cx="915177" cy="2592288"/>
              <a:chOff x="6245119" y="2222251"/>
              <a:chExt cx="915177" cy="2592288"/>
            </a:xfrm>
          </p:grpSpPr>
          <p:sp>
            <p:nvSpPr>
              <p:cNvPr id="27" name="矩形 26"/>
              <p:cNvSpPr/>
              <p:nvPr/>
            </p:nvSpPr>
            <p:spPr>
              <a:xfrm>
                <a:off x="6245119" y="2222251"/>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28" name="组 89"/>
              <p:cNvGrpSpPr/>
              <p:nvPr/>
            </p:nvGrpSpPr>
            <p:grpSpPr>
              <a:xfrm>
                <a:off x="6468707" y="2347430"/>
                <a:ext cx="521369" cy="698263"/>
                <a:chOff x="5365078" y="729138"/>
                <a:chExt cx="521369" cy="698263"/>
              </a:xfrm>
            </p:grpSpPr>
            <p:pic>
              <p:nvPicPr>
                <p:cNvPr id="32" name="图片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65078" y="729138"/>
                  <a:ext cx="468000" cy="468000"/>
                </a:xfrm>
                <a:prstGeom prst="rect">
                  <a:avLst/>
                </a:prstGeom>
              </p:spPr>
            </p:pic>
            <p:sp>
              <p:nvSpPr>
                <p:cNvPr id="33" name="文本框 32"/>
                <p:cNvSpPr txBox="1"/>
                <p:nvPr/>
              </p:nvSpPr>
              <p:spPr>
                <a:xfrm>
                  <a:off x="5396940" y="1143917"/>
                  <a:ext cx="489507"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RD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29" name="组 92"/>
              <p:cNvGrpSpPr/>
              <p:nvPr/>
            </p:nvGrpSpPr>
            <p:grpSpPr>
              <a:xfrm>
                <a:off x="6500568" y="3283534"/>
                <a:ext cx="521369" cy="698263"/>
                <a:chOff x="5365078" y="564499"/>
                <a:chExt cx="521369" cy="698263"/>
              </a:xfrm>
            </p:grpSpPr>
            <p:pic>
              <p:nvPicPr>
                <p:cNvPr id="30" name="图片 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65078" y="564499"/>
                  <a:ext cx="468000" cy="468000"/>
                </a:xfrm>
                <a:prstGeom prst="rect">
                  <a:avLst/>
                </a:prstGeom>
              </p:spPr>
            </p:pic>
            <p:sp>
              <p:nvSpPr>
                <p:cNvPr id="31" name="文本框 30"/>
                <p:cNvSpPr txBox="1"/>
                <p:nvPr/>
              </p:nvSpPr>
              <p:spPr>
                <a:xfrm>
                  <a:off x="5396940" y="979278"/>
                  <a:ext cx="489507"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RD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34" name="组 2"/>
            <p:cNvGrpSpPr/>
            <p:nvPr/>
          </p:nvGrpSpPr>
          <p:grpSpPr>
            <a:xfrm>
              <a:off x="9430557" y="3044488"/>
              <a:ext cx="915177" cy="2592288"/>
              <a:chOff x="7991318" y="2206004"/>
              <a:chExt cx="915177" cy="2592288"/>
            </a:xfrm>
          </p:grpSpPr>
          <p:sp>
            <p:nvSpPr>
              <p:cNvPr id="35" name="矩形 34"/>
              <p:cNvSpPr/>
              <p:nvPr/>
            </p:nvSpPr>
            <p:spPr>
              <a:xfrm>
                <a:off x="7991318" y="2206004"/>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36" name="组 95"/>
              <p:cNvGrpSpPr/>
              <p:nvPr/>
            </p:nvGrpSpPr>
            <p:grpSpPr>
              <a:xfrm>
                <a:off x="8209097" y="2432920"/>
                <a:ext cx="578431" cy="660787"/>
                <a:chOff x="6337101" y="882263"/>
                <a:chExt cx="578431" cy="660787"/>
              </a:xfrm>
            </p:grpSpPr>
            <p:pic>
              <p:nvPicPr>
                <p:cNvPr id="40" name="图片 3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41" name="文本框 40"/>
                <p:cNvSpPr txBox="1"/>
                <p:nvPr/>
              </p:nvSpPr>
              <p:spPr>
                <a:xfrm>
                  <a:off x="6337101" y="1259566"/>
                  <a:ext cx="578431"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rPr>
                    <a:t>Redi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37" name="组 98"/>
              <p:cNvGrpSpPr/>
              <p:nvPr/>
            </p:nvGrpSpPr>
            <p:grpSpPr>
              <a:xfrm>
                <a:off x="8281317" y="3601715"/>
                <a:ext cx="578431" cy="660787"/>
                <a:chOff x="6337101" y="882263"/>
                <a:chExt cx="578431" cy="660787"/>
              </a:xfrm>
            </p:grpSpPr>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39584" y="882263"/>
                  <a:ext cx="465132" cy="465132"/>
                </a:xfrm>
                <a:prstGeom prst="rect">
                  <a:avLst/>
                </a:prstGeom>
              </p:spPr>
            </p:pic>
            <p:sp>
              <p:nvSpPr>
                <p:cNvPr id="39" name="文本框 38"/>
                <p:cNvSpPr txBox="1"/>
                <p:nvPr/>
              </p:nvSpPr>
              <p:spPr>
                <a:xfrm>
                  <a:off x="6337101" y="1259566"/>
                  <a:ext cx="578431"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err="1" smtClean="0">
                      <a:ln>
                        <a:noFill/>
                      </a:ln>
                      <a:solidFill>
                        <a:prstClr val="black"/>
                      </a:solidFill>
                      <a:effectLst/>
                      <a:uLnTx/>
                      <a:uFillTx/>
                      <a:latin typeface="Calibri"/>
                      <a:ea typeface="宋体" panose="02010600030101010101" pitchFamily="2" charset="-122"/>
                    </a:rPr>
                    <a:t>Redi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42" name="组 1"/>
            <p:cNvGrpSpPr/>
            <p:nvPr/>
          </p:nvGrpSpPr>
          <p:grpSpPr>
            <a:xfrm>
              <a:off x="2458614" y="2997334"/>
              <a:ext cx="915177" cy="2592288"/>
              <a:chOff x="9865493" y="2222251"/>
              <a:chExt cx="915177" cy="2592288"/>
            </a:xfrm>
          </p:grpSpPr>
          <p:sp>
            <p:nvSpPr>
              <p:cNvPr id="43" name="矩形 42"/>
              <p:cNvSpPr/>
              <p:nvPr/>
            </p:nvSpPr>
            <p:spPr>
              <a:xfrm>
                <a:off x="9865493" y="2222251"/>
                <a:ext cx="915177" cy="2592288"/>
              </a:xfrm>
              <a:prstGeom prst="rect">
                <a:avLst/>
              </a:prstGeom>
              <a:solidFill>
                <a:srgbClr val="4F81BD">
                  <a:lumMod val="20000"/>
                  <a:lumOff val="8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dirty="0" smtClean="0">
                  <a:ln>
                    <a:noFill/>
                  </a:ln>
                  <a:solidFill>
                    <a:prstClr val="black"/>
                  </a:solidFill>
                  <a:effectLst/>
                  <a:uLnTx/>
                  <a:uFillTx/>
                  <a:latin typeface="Calibri"/>
                  <a:ea typeface="宋体" panose="02010600030101010101" pitchFamily="2" charset="-122"/>
                  <a:cs typeface="+mn-cs"/>
                </a:endParaRPr>
              </a:p>
            </p:txBody>
          </p:sp>
          <p:grpSp>
            <p:nvGrpSpPr>
              <p:cNvPr id="44" name="组 102"/>
              <p:cNvGrpSpPr/>
              <p:nvPr/>
            </p:nvGrpSpPr>
            <p:grpSpPr>
              <a:xfrm>
                <a:off x="10089081" y="2418699"/>
                <a:ext cx="514047" cy="662113"/>
                <a:chOff x="4885566" y="270035"/>
                <a:chExt cx="514047" cy="662113"/>
              </a:xfrm>
            </p:grpSpPr>
            <p:pic>
              <p:nvPicPr>
                <p:cNvPr id="48" name="图片 4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49" name="文本框 48"/>
                <p:cNvSpPr txBox="1"/>
                <p:nvPr/>
              </p:nvSpPr>
              <p:spPr>
                <a:xfrm>
                  <a:off x="4914340" y="648664"/>
                  <a:ext cx="485273"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OS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nvGrpSpPr>
              <p:cNvPr id="45" name="组 105"/>
              <p:cNvGrpSpPr/>
              <p:nvPr/>
            </p:nvGrpSpPr>
            <p:grpSpPr>
              <a:xfrm>
                <a:off x="10117855" y="3605075"/>
                <a:ext cx="514047" cy="662113"/>
                <a:chOff x="4885566" y="270035"/>
                <a:chExt cx="514047" cy="662113"/>
              </a:xfrm>
            </p:grpSpPr>
            <p:pic>
              <p:nvPicPr>
                <p:cNvPr id="46" name="图片 4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85566" y="270035"/>
                  <a:ext cx="468000" cy="468000"/>
                </a:xfrm>
                <a:prstGeom prst="rect">
                  <a:avLst/>
                </a:prstGeom>
              </p:spPr>
            </p:pic>
            <p:sp>
              <p:nvSpPr>
                <p:cNvPr id="47" name="文本框 46"/>
                <p:cNvSpPr txBox="1"/>
                <p:nvPr/>
              </p:nvSpPr>
              <p:spPr>
                <a:xfrm>
                  <a:off x="4914340" y="648664"/>
                  <a:ext cx="485273" cy="28348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en-US" altLang="zh-CN" sz="900" b="0" i="0" u="none" strike="noStrike" kern="0" cap="none" spc="0" normalizeH="0" baseline="0" noProof="0" dirty="0" smtClean="0">
                      <a:ln>
                        <a:noFill/>
                      </a:ln>
                      <a:solidFill>
                        <a:prstClr val="black"/>
                      </a:solidFill>
                      <a:effectLst/>
                      <a:uLnTx/>
                      <a:uFillTx/>
                      <a:latin typeface="Calibri"/>
                      <a:ea typeface="宋体" panose="02010600030101010101" pitchFamily="2" charset="-122"/>
                    </a:rPr>
                    <a:t>OSS</a:t>
                  </a:r>
                  <a:endParaRPr kumimoji="1" lang="zh-CN" altLang="en-US" sz="900" b="0" i="0" u="none" strike="noStrike" kern="0" cap="none" spc="0" normalizeH="0" baseline="0" noProof="0" dirty="0" smtClean="0">
                    <a:ln>
                      <a:noFill/>
                    </a:ln>
                    <a:solidFill>
                      <a:prstClr val="black"/>
                    </a:solidFill>
                    <a:effectLst/>
                    <a:uLnTx/>
                    <a:uFillTx/>
                    <a:latin typeface="Calibri"/>
                    <a:ea typeface="宋体" panose="02010600030101010101" pitchFamily="2" charset="-122"/>
                  </a:endParaRPr>
                </a:p>
              </p:txBody>
            </p:sp>
          </p:grpSp>
        </p:grpSp>
        <p:grpSp>
          <p:nvGrpSpPr>
            <p:cNvPr id="50" name="组 6"/>
            <p:cNvGrpSpPr/>
            <p:nvPr/>
          </p:nvGrpSpPr>
          <p:grpSpPr>
            <a:xfrm>
              <a:off x="4832575" y="1797339"/>
              <a:ext cx="601722" cy="693926"/>
              <a:chOff x="6148064" y="1663545"/>
              <a:chExt cx="601722" cy="693926"/>
            </a:xfrm>
          </p:grpSpPr>
          <p:pic>
            <p:nvPicPr>
              <p:cNvPr id="51" name="图片 5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87559" y="1663545"/>
                <a:ext cx="468000" cy="468000"/>
              </a:xfrm>
              <a:prstGeom prst="rect">
                <a:avLst/>
              </a:prstGeom>
            </p:spPr>
          </p:pic>
          <p:sp>
            <p:nvSpPr>
              <p:cNvPr id="52" name="文本框 51"/>
              <p:cNvSpPr txBox="1"/>
              <p:nvPr/>
            </p:nvSpPr>
            <p:spPr>
              <a:xfrm>
                <a:off x="6148064" y="2073987"/>
                <a:ext cx="601722"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DDOS</a:t>
                </a:r>
                <a:endParaRPr kumimoji="1" lang="zh-CN" altLang="en-US" sz="900" b="0" dirty="0">
                  <a:solidFill>
                    <a:prstClr val="black"/>
                  </a:solidFill>
                  <a:latin typeface="Calibri"/>
                  <a:ea typeface="宋体" panose="02010600030101010101" pitchFamily="2" charset="-122"/>
                </a:endParaRPr>
              </a:p>
            </p:txBody>
          </p:sp>
        </p:grpSp>
        <p:sp>
          <p:nvSpPr>
            <p:cNvPr id="53" name="矩形 52"/>
            <p:cNvSpPr/>
            <p:nvPr/>
          </p:nvSpPr>
          <p:spPr>
            <a:xfrm>
              <a:off x="4536901" y="2809627"/>
              <a:ext cx="6336704" cy="3168352"/>
            </a:xfrm>
            <a:prstGeom prst="rect">
              <a:avLst/>
            </a:prstGeom>
            <a:noFill/>
            <a:ln w="3175" cap="flat" cmpd="sng" algn="ctr">
              <a:solidFill>
                <a:srgbClr val="4F81BD">
                  <a:shade val="95000"/>
                  <a:satMod val="105000"/>
                  <a:alpha val="48000"/>
                </a:srgbClr>
              </a:solidFill>
              <a:prstDash val="sysDot"/>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sp>
          <p:nvSpPr>
            <p:cNvPr id="54" name="矩形 53"/>
            <p:cNvSpPr/>
            <p:nvPr/>
          </p:nvSpPr>
          <p:spPr>
            <a:xfrm>
              <a:off x="1872605" y="2809627"/>
              <a:ext cx="2004214" cy="3168352"/>
            </a:xfrm>
            <a:prstGeom prst="rect">
              <a:avLst/>
            </a:prstGeom>
            <a:noFill/>
            <a:ln w="3175" cap="flat" cmpd="sng" algn="ctr">
              <a:solidFill>
                <a:srgbClr val="4F81BD">
                  <a:shade val="95000"/>
                  <a:satMod val="105000"/>
                  <a:alpha val="48000"/>
                </a:srgbClr>
              </a:solidFill>
              <a:prstDash val="sysDot"/>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zh-CN" altLang="en-US" b="0" i="0" u="none" strike="noStrike" kern="0" cap="none" spc="0" normalizeH="0" baseline="0" noProof="0" smtClean="0">
                <a:ln>
                  <a:noFill/>
                </a:ln>
                <a:solidFill>
                  <a:prstClr val="white"/>
                </a:solidFill>
                <a:effectLst/>
                <a:uLnTx/>
                <a:uFillTx/>
                <a:latin typeface="Calibri"/>
                <a:ea typeface="宋体" panose="02010600030101010101" pitchFamily="2" charset="-122"/>
                <a:cs typeface="+mn-cs"/>
              </a:endParaRPr>
            </a:p>
          </p:txBody>
        </p:sp>
        <p:cxnSp>
          <p:nvCxnSpPr>
            <p:cNvPr id="55" name="直线箭头连接符 15"/>
            <p:cNvCxnSpPr>
              <a:stCxn id="19" idx="3"/>
              <a:endCxn id="27" idx="1"/>
            </p:cNvCxnSpPr>
            <p:nvPr/>
          </p:nvCxnSpPr>
          <p:spPr>
            <a:xfrm>
              <a:off x="6940122" y="4340632"/>
              <a:ext cx="787629" cy="0"/>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6" name="肘形连接符 55"/>
            <p:cNvCxnSpPr>
              <a:stCxn id="17" idx="2"/>
              <a:endCxn id="43" idx="3"/>
            </p:cNvCxnSpPr>
            <p:nvPr/>
          </p:nvCxnSpPr>
          <p:spPr>
            <a:xfrm rot="5400000">
              <a:off x="2887005" y="2948593"/>
              <a:ext cx="1831672" cy="858099"/>
            </a:xfrm>
            <a:prstGeom prst="bentConnector2">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7" name="直线箭头连接符 120"/>
            <p:cNvCxnSpPr>
              <a:stCxn id="9" idx="2"/>
              <a:endCxn id="5" idx="0"/>
            </p:cNvCxnSpPr>
            <p:nvPr/>
          </p:nvCxnSpPr>
          <p:spPr>
            <a:xfrm>
              <a:off x="4680768" y="932229"/>
              <a:ext cx="2930" cy="596440"/>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8" name="直线箭头连接符 123"/>
            <p:cNvCxnSpPr>
              <a:stCxn id="13" idx="3"/>
              <a:endCxn id="19" idx="1"/>
            </p:cNvCxnSpPr>
            <p:nvPr/>
          </p:nvCxnSpPr>
          <p:spPr>
            <a:xfrm>
              <a:off x="5326904" y="4338337"/>
              <a:ext cx="698041" cy="2295"/>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59" name="直线箭头连接符 127"/>
            <p:cNvCxnSpPr>
              <a:stCxn id="52" idx="2"/>
              <a:endCxn id="13" idx="0"/>
            </p:cNvCxnSpPr>
            <p:nvPr/>
          </p:nvCxnSpPr>
          <p:spPr>
            <a:xfrm flipH="1">
              <a:off x="5094338" y="2491265"/>
              <a:ext cx="39098" cy="1614506"/>
            </a:xfrm>
            <a:prstGeom prst="straightConnector1">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60" name="肘形连接符 59"/>
            <p:cNvCxnSpPr>
              <a:stCxn id="19" idx="2"/>
              <a:endCxn id="43" idx="2"/>
            </p:cNvCxnSpPr>
            <p:nvPr/>
          </p:nvCxnSpPr>
          <p:spPr>
            <a:xfrm rot="5400000" flipH="1">
              <a:off x="4675792" y="3830034"/>
              <a:ext cx="47154" cy="3566331"/>
            </a:xfrm>
            <a:prstGeom prst="bentConnector3">
              <a:avLst>
                <a:gd name="adj1" fmla="val -484795"/>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cxnSp>
          <p:nvCxnSpPr>
            <p:cNvPr id="61" name="肘形连接符 60"/>
            <p:cNvCxnSpPr>
              <a:stCxn id="19" idx="0"/>
              <a:endCxn id="35" idx="0"/>
            </p:cNvCxnSpPr>
            <p:nvPr/>
          </p:nvCxnSpPr>
          <p:spPr>
            <a:xfrm rot="5400000" flipH="1" flipV="1">
              <a:off x="8185340" y="1341682"/>
              <a:ext cx="12700" cy="3405612"/>
            </a:xfrm>
            <a:prstGeom prst="bentConnector3">
              <a:avLst>
                <a:gd name="adj1" fmla="val 1800000"/>
              </a:avLst>
            </a:prstGeom>
            <a:noFill/>
            <a:ln w="25400" cap="flat" cmpd="sng" algn="ctr">
              <a:solidFill>
                <a:srgbClr val="4F81BD"/>
              </a:solidFill>
              <a:prstDash val="solid"/>
              <a:tailEnd type="triangle"/>
            </a:ln>
            <a:effectLst>
              <a:outerShdw blurRad="40000" dist="20000" dir="5400000" rotWithShape="0">
                <a:srgbClr val="000000">
                  <a:alpha val="38000"/>
                </a:srgbClr>
              </a:outerShdw>
            </a:effectLst>
          </p:spPr>
        </p:cxnSp>
        <p:pic>
          <p:nvPicPr>
            <p:cNvPr id="62" name="图片 6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10588" y="4983376"/>
              <a:ext cx="468000" cy="468000"/>
            </a:xfrm>
            <a:prstGeom prst="rect">
              <a:avLst/>
            </a:prstGeom>
          </p:spPr>
        </p:pic>
        <p:sp>
          <p:nvSpPr>
            <p:cNvPr id="63" name="文本框 62"/>
            <p:cNvSpPr txBox="1"/>
            <p:nvPr/>
          </p:nvSpPr>
          <p:spPr>
            <a:xfrm>
              <a:off x="8042448" y="5398155"/>
              <a:ext cx="489507"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RDS</a:t>
              </a:r>
              <a:endParaRPr kumimoji="1" lang="zh-CN" altLang="en-US" sz="900" b="0" dirty="0">
                <a:solidFill>
                  <a:prstClr val="black"/>
                </a:solidFill>
                <a:latin typeface="Calibri"/>
                <a:ea typeface="宋体" panose="02010600030101010101" pitchFamily="2" charset="-122"/>
              </a:endParaRPr>
            </a:p>
          </p:txBody>
        </p:sp>
        <p:pic>
          <p:nvPicPr>
            <p:cNvPr id="64" name="图片 6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41705" y="4905331"/>
              <a:ext cx="465132" cy="465132"/>
            </a:xfrm>
            <a:prstGeom prst="rect">
              <a:avLst/>
            </a:prstGeom>
          </p:spPr>
        </p:pic>
        <p:sp>
          <p:nvSpPr>
            <p:cNvPr id="65" name="文本框 64"/>
            <p:cNvSpPr txBox="1"/>
            <p:nvPr/>
          </p:nvSpPr>
          <p:spPr>
            <a:xfrm>
              <a:off x="6283605" y="5306052"/>
              <a:ext cx="468334" cy="283484"/>
            </a:xfrm>
            <a:prstGeom prst="rect">
              <a:avLst/>
            </a:prstGeom>
            <a:noFill/>
          </p:spPr>
          <p:txBody>
            <a:bodyPr wrap="none" rtlCol="0">
              <a:spAutoFit/>
            </a:bodyPr>
            <a:lstStyle/>
            <a:p>
              <a:pPr algn="l" defTabSz="914400" fontAlgn="auto">
                <a:spcBef>
                  <a:spcPts val="0"/>
                </a:spcBef>
                <a:spcAft>
                  <a:spcPts val="0"/>
                </a:spcAft>
              </a:pPr>
              <a:r>
                <a:rPr kumimoji="1" lang="en-US" altLang="zh-CN" sz="900" b="0" dirty="0" smtClean="0">
                  <a:solidFill>
                    <a:prstClr val="black"/>
                  </a:solidFill>
                  <a:latin typeface="Calibri"/>
                  <a:ea typeface="宋体" panose="02010600030101010101" pitchFamily="2" charset="-122"/>
                </a:rPr>
                <a:t>ECS</a:t>
              </a:r>
              <a:endParaRPr kumimoji="1" lang="zh-CN" altLang="en-US" sz="900" b="0" dirty="0">
                <a:solidFill>
                  <a:prstClr val="black"/>
                </a:solidFill>
                <a:latin typeface="Calibri"/>
                <a:ea typeface="宋体" panose="02010600030101010101" pitchFamily="2" charset="-122"/>
              </a:endParaRPr>
            </a:p>
          </p:txBody>
        </p:sp>
      </p:grpSp>
    </p:spTree>
    <p:extLst>
      <p:ext uri="{BB962C8B-B14F-4D97-AF65-F5344CB8AC3E}">
        <p14:creationId xmlns:p14="http://schemas.microsoft.com/office/powerpoint/2010/main" val="21857781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8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6&quot;/&gt;&lt;m_nIndex val=&quot;1&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NP_IDX" val="1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3wsme0iQUSXZ9zC7PW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mW0DN_0p0yqMtkhZCbA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46XxhUCoUe1TNLArxrh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0qMQ4pdOk.t6_ciD.JJ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W.2ai.ikEOl0DbgFnwX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juuvsmF4UKxXl5HA6Jd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GVas36W9k.q3IVR9dxIUw"/>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sljUtC6DUqF39BLN1myig"/>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D2ZzFhqxUaROiXEQmcWgA"/>
</p:tagLst>
</file>

<file path=ppt/tags/tag30.xml><?xml version="1.0" encoding="utf-8"?>
<p:tagLst xmlns:a="http://schemas.openxmlformats.org/drawingml/2006/main" xmlns:r="http://schemas.openxmlformats.org/officeDocument/2006/relationships" xmlns:p="http://schemas.openxmlformats.org/presentationml/2006/main">
  <p:tag name="NAME" val="MoonShape"/>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GVas36W9k.q3IVR9dxIUw"/>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0f1xzBBg06psgkO3udwK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rePbwO.JEyL1Z0sQZi9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RESIZE" val="Yes"/>
</p:tagLst>
</file>

<file path=ppt/tags/tag52.xml><?xml version="1.0" encoding="utf-8"?>
<p:tagLst xmlns:a="http://schemas.openxmlformats.org/drawingml/2006/main" xmlns:r="http://schemas.openxmlformats.org/officeDocument/2006/relationships" xmlns:p="http://schemas.openxmlformats.org/presentationml/2006/main">
  <p:tag name="ISLIDE.DIAGRAM" val="00091eef-2658-4908-ae12-dd5286d0267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rePbwO.JEyL1Z0sQZi9_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HF5JFNy40yliX0m0NGL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Upapjcm502lNOQxJ2SI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OROS PPT Template_20130417">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1_Qoros_CF_IRL018">
      <a:majorFont>
        <a:latin typeface="Arial"/>
        <a:ea typeface="ＭＳ Ｐゴシック"/>
        <a:cs typeface="Arial"/>
      </a:majorFont>
      <a:minorFont>
        <a:latin typeface=""/>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200" b="0" dirty="0" err="1" smtClean="0">
            <a:solidFill>
              <a:schemeClr val="bg2"/>
            </a:solidFill>
            <a:latin typeface="Verdana" pitchFamily="34" charset="0"/>
            <a:ea typeface="Verdana" pitchFamily="34" charset="0"/>
            <a:cs typeface="Verdana" pitchFamily="34" charset="0"/>
          </a:defRPr>
        </a:defPPr>
      </a:lstStyle>
    </a:txDef>
  </a:objectDefaults>
  <a:extraClrSchemeLst>
    <a:extraClrScheme>
      <a:clrScheme name="Qoros_CF_IRL018 1">
        <a:dk1>
          <a:srgbClr val="000000"/>
        </a:dk1>
        <a:lt1>
          <a:srgbClr val="FFFFFF"/>
        </a:lt1>
        <a:dk2>
          <a:srgbClr val="7D0A3C"/>
        </a:dk2>
        <a:lt2>
          <a:srgbClr val="333333"/>
        </a:lt2>
        <a:accent1>
          <a:srgbClr val="7D0A3C"/>
        </a:accent1>
        <a:accent2>
          <a:srgbClr val="002D7D"/>
        </a:accent2>
        <a:accent3>
          <a:srgbClr val="FFFFFF"/>
        </a:accent3>
        <a:accent4>
          <a:srgbClr val="000000"/>
        </a:accent4>
        <a:accent5>
          <a:srgbClr val="BFAAAF"/>
        </a:accent5>
        <a:accent6>
          <a:srgbClr val="002871"/>
        </a:accent6>
        <a:hlink>
          <a:srgbClr val="7F7F7F"/>
        </a:hlink>
        <a:folHlink>
          <a:srgbClr val="007D7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Qoros_CF_wide">
  <a:themeElements>
    <a:clrScheme name="Current">
      <a:dk1>
        <a:srgbClr val="000000"/>
      </a:dk1>
      <a:lt1>
        <a:srgbClr val="FFFFFF"/>
      </a:lt1>
      <a:dk2>
        <a:srgbClr val="7D0A3C"/>
      </a:dk2>
      <a:lt2>
        <a:srgbClr val="333333"/>
      </a:lt2>
      <a:accent1>
        <a:srgbClr val="E1E1E1"/>
      </a:accent1>
      <a:accent2>
        <a:srgbClr val="969696"/>
      </a:accent2>
      <a:accent3>
        <a:srgbClr val="002D7D"/>
      </a:accent3>
      <a:accent4>
        <a:srgbClr val="7D0A3C"/>
      </a:accent4>
      <a:accent5>
        <a:srgbClr val="FF6600"/>
      </a:accent5>
      <a:accent6>
        <a:srgbClr val="808080"/>
      </a:accent6>
      <a:hlink>
        <a:srgbClr val="002D7D"/>
      </a:hlink>
      <a:folHlink>
        <a:srgbClr val="7D0A3C"/>
      </a:folHlink>
    </a:clrScheme>
    <a:fontScheme name="Custom 69">
      <a:majorFont>
        <a:latin typeface="Century Gothic"/>
        <a:ea typeface="ＭＳ Ｐゴシック"/>
        <a:cs typeface=""/>
      </a:majorFont>
      <a:minorFont>
        <a:latin typeface="Century Gothic"/>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D0A3C"/>
        </a:dk2>
        <a:lt2>
          <a:srgbClr val="333333"/>
        </a:lt2>
        <a:accent1>
          <a:srgbClr val="E1E1E1"/>
        </a:accent1>
        <a:accent2>
          <a:srgbClr val="969696"/>
        </a:accent2>
        <a:accent3>
          <a:srgbClr val="002D7D"/>
        </a:accent3>
        <a:accent4>
          <a:srgbClr val="7D0A3C"/>
        </a:accent4>
        <a:accent5>
          <a:srgbClr val="FF6600"/>
        </a:accent5>
        <a:accent6>
          <a:srgbClr val="808080"/>
        </a:accent6>
        <a:hlink>
          <a:srgbClr val="002D7D"/>
        </a:hlink>
        <a:folHlink>
          <a:srgbClr val="7D0A3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QOROS PPT Template_20130417</Template>
  <TotalTime>7073</TotalTime>
  <Words>878</Words>
  <Application>Microsoft Macintosh PowerPoint</Application>
  <PresentationFormat>全屏显示(16:9)</PresentationFormat>
  <Paragraphs>257</Paragraphs>
  <Slides>11</Slides>
  <Notes>6</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1</vt:i4>
      </vt:variant>
      <vt:variant>
        <vt:lpstr>幻灯片标题</vt:lpstr>
      </vt:variant>
      <vt:variant>
        <vt:i4>11</vt:i4>
      </vt:variant>
    </vt:vector>
  </HeadingPairs>
  <TitlesOfParts>
    <vt:vector size="26" baseType="lpstr">
      <vt:lpstr>Arial Unicode MS</vt:lpstr>
      <vt:lpstr>Calibri</vt:lpstr>
      <vt:lpstr>Century Gothic</vt:lpstr>
      <vt:lpstr>Impact MT Std</vt:lpstr>
      <vt:lpstr>MS PGothic</vt:lpstr>
      <vt:lpstr>ＭＳ Ｐゴシック</vt:lpstr>
      <vt:lpstr>PMingLiU</vt:lpstr>
      <vt:lpstr>Times New Roman</vt:lpstr>
      <vt:lpstr>Verdana</vt:lpstr>
      <vt:lpstr>宋体</vt:lpstr>
      <vt:lpstr>微软雅黑</vt:lpstr>
      <vt:lpstr>Arial</vt:lpstr>
      <vt:lpstr>QOROS PPT Template_20130417</vt:lpstr>
      <vt:lpstr>1_Qoros_CF_wide</vt:lpstr>
      <vt:lpstr>think-cell Slide</vt:lpstr>
      <vt:lpstr>技术方案</vt:lpstr>
      <vt:lpstr>目录</vt:lpstr>
      <vt:lpstr>1.公司简介</vt:lpstr>
      <vt:lpstr>公司简介</vt:lpstr>
      <vt:lpstr>2.研发团队核心成员介绍</vt:lpstr>
      <vt:lpstr>3.总体设计——系统架构</vt:lpstr>
      <vt:lpstr>总体设计——后端技术体系</vt:lpstr>
      <vt:lpstr>总体设计——APP技术体系</vt:lpstr>
      <vt:lpstr>4.系统部署设计——系统拓扑</vt:lpstr>
      <vt:lpstr>系统部署设计——系统安全设计</vt:lpstr>
      <vt:lpstr>5.项目实施过程</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ariya.davydenko</dc:creator>
  <cp:lastModifiedBy>马晓辉</cp:lastModifiedBy>
  <cp:revision>373</cp:revision>
  <dcterms:created xsi:type="dcterms:W3CDTF">2013-08-07T10:36:44Z</dcterms:created>
  <dcterms:modified xsi:type="dcterms:W3CDTF">2018-03-27T14:2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tru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DocIDinTitle">
    <vt:bool>false</vt:bool>
  </property>
  <property fmtid="{D5CDD505-2E9C-101B-9397-08002B2CF9AE}" pid="8" name="DocIDinSlide">
    <vt:bool>true</vt:bool>
  </property>
  <property fmtid="{D5CDD505-2E9C-101B-9397-08002B2CF9AE}" pid="9" name="DocIDPosition">
    <vt:i4>1</vt:i4>
  </property>
  <property fmtid="{D5CDD505-2E9C-101B-9397-08002B2CF9AE}" pid="10" name="NotesPageLayout">
    <vt:lpwstr>Message</vt:lpwstr>
  </property>
</Properties>
</file>